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3.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6.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7.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8.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4"/>
    <p:sldMasterId id="2147483899" r:id="rId5"/>
    <p:sldMasterId id="2147483993" r:id="rId6"/>
    <p:sldMasterId id="2147484017" r:id="rId7"/>
    <p:sldMasterId id="2147484029" r:id="rId8"/>
    <p:sldMasterId id="2147484041" r:id="rId9"/>
    <p:sldMasterId id="2147484063" r:id="rId10"/>
    <p:sldMasterId id="2147484083" r:id="rId11"/>
    <p:sldMasterId id="2147484108" r:id="rId12"/>
  </p:sldMasterIdLst>
  <p:notesMasterIdLst>
    <p:notesMasterId r:id="rId42"/>
  </p:notesMasterIdLst>
  <p:handoutMasterIdLst>
    <p:handoutMasterId r:id="rId43"/>
  </p:handoutMasterIdLst>
  <p:sldIdLst>
    <p:sldId id="1860" r:id="rId13"/>
    <p:sldId id="1562" r:id="rId14"/>
    <p:sldId id="1597" r:id="rId15"/>
    <p:sldId id="1960" r:id="rId16"/>
    <p:sldId id="312" r:id="rId17"/>
    <p:sldId id="1986" r:id="rId18"/>
    <p:sldId id="1913" r:id="rId19"/>
    <p:sldId id="324" r:id="rId20"/>
    <p:sldId id="392" r:id="rId21"/>
    <p:sldId id="394" r:id="rId22"/>
    <p:sldId id="395" r:id="rId23"/>
    <p:sldId id="396" r:id="rId24"/>
    <p:sldId id="397" r:id="rId25"/>
    <p:sldId id="398" r:id="rId26"/>
    <p:sldId id="399" r:id="rId27"/>
    <p:sldId id="337" r:id="rId28"/>
    <p:sldId id="336" r:id="rId29"/>
    <p:sldId id="1598" r:id="rId30"/>
    <p:sldId id="1599" r:id="rId31"/>
    <p:sldId id="1983" r:id="rId32"/>
    <p:sldId id="1962" r:id="rId33"/>
    <p:sldId id="2297" r:id="rId34"/>
    <p:sldId id="1572" r:id="rId35"/>
    <p:sldId id="1573" r:id="rId36"/>
    <p:sldId id="1570" r:id="rId37"/>
    <p:sldId id="1571" r:id="rId38"/>
    <p:sldId id="1604" r:id="rId39"/>
    <p:sldId id="1603" r:id="rId40"/>
    <p:sldId id="2296" r:id="rId41"/>
  </p:sldIdLst>
  <p:sldSz cx="12436475" cy="6994525"/>
  <p:notesSz cx="6934200" cy="92202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extLst/>
  </p:cmAuthor>
  <p:cmAuthor id="2" name="Nicolette Sharp (Prime 8)" initials="NS(8" lastIdx="4" clrIdx="1">
    <p:extLst/>
  </p:cmAuthor>
  <p:cmAuthor id="3" name="Megan Sharma" initials="MS" lastIdx="1" clrIdx="2">
    <p:extLst>
      <p:ext uri="{19B8F6BF-5375-455C-9EA6-DF929625EA0E}">
        <p15:presenceInfo xmlns:p15="http://schemas.microsoft.com/office/powerpoint/2012/main" userId="24d6994c40ab81dc" providerId="Windows Live"/>
      </p:ext>
    </p:extLst>
  </p:cmAuthor>
  <p:cmAuthor id="4" name="Megan Sharma" initials="MS [2]" lastIdx="3" clrIdx="3">
    <p:extLst>
      <p:ext uri="{19B8F6BF-5375-455C-9EA6-DF929625EA0E}">
        <p15:presenceInfo xmlns:p15="http://schemas.microsoft.com/office/powerpoint/2012/main" userId="4acb8b62ea7d61f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000000"/>
    <a:srgbClr val="505050"/>
    <a:srgbClr val="737373"/>
    <a:srgbClr val="D2D2D2"/>
    <a:srgbClr val="E6E6E6"/>
    <a:srgbClr val="15BCF3"/>
    <a:srgbClr val="353535"/>
    <a:srgbClr val="E2E3E2"/>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8D0CC1-B66B-4400-8E30-9312D637D976}" v="1" dt="2019-03-12T17:14:05.946"/>
    <p1510:client id="{FF8760EF-EAE7-400E-A3BE-8A34D45E96F7}" v="1" dt="2018-12-12T21:46:36.3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78776" autoAdjust="0"/>
  </p:normalViewPr>
  <p:slideViewPr>
    <p:cSldViewPr snapToGrid="0">
      <p:cViewPr varScale="1">
        <p:scale>
          <a:sx n="97" d="100"/>
          <a:sy n="97" d="100"/>
        </p:scale>
        <p:origin x="1632" y="20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3/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3/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19 12: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165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IoT is an important workload for serverless because of inherently spiky workloads associated with IoT.  Processing huge amount of incoming data and doing some processing on that data in real time is a common serverless scenario</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1</a:t>
            </a:fld>
            <a:endParaRPr lang="en-US"/>
          </a:p>
        </p:txBody>
      </p:sp>
    </p:spTree>
    <p:extLst>
      <p:ext uri="{BB962C8B-B14F-4D97-AF65-F5344CB8AC3E}">
        <p14:creationId xmlns:p14="http://schemas.microsoft.com/office/powerpoint/2010/main" val="969921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Building backend logic for bots is a common serverless scenario especially due to short-lived processing and </a:t>
            </a:r>
            <a:r>
              <a:rPr lang="en-US" err="1">
                <a:latin typeface="Segoe UI" panose="020B0502040204020203" pitchFamily="34" charset="0"/>
                <a:cs typeface="Segoe UI" panose="020B0502040204020203" pitchFamily="34" charset="0"/>
              </a:rPr>
              <a:t>undeterministic</a:t>
            </a:r>
            <a:r>
              <a:rPr lang="en-US">
                <a:latin typeface="Segoe UI" panose="020B0502040204020203" pitchFamily="34" charset="0"/>
                <a:cs typeface="Segoe UI" panose="020B0502040204020203" pitchFamily="34" charset="0"/>
              </a:rPr>
              <a:t> traffic.</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2</a:t>
            </a:fld>
            <a:endParaRPr lang="en-US"/>
          </a:p>
        </p:txBody>
      </p:sp>
    </p:spTree>
    <p:extLst>
      <p:ext uri="{BB962C8B-B14F-4D97-AF65-F5344CB8AC3E}">
        <p14:creationId xmlns:p14="http://schemas.microsoft.com/office/powerpoint/2010/main" val="3427593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Data </a:t>
            </a:r>
            <a:r>
              <a:rPr lang="en-US" err="1">
                <a:latin typeface="Segoe UI" panose="020B0502040204020203" pitchFamily="34" charset="0"/>
                <a:cs typeface="Segoe UI" panose="020B0502040204020203" pitchFamily="34" charset="0"/>
              </a:rPr>
              <a:t>transofrmation</a:t>
            </a:r>
            <a:r>
              <a:rPr lang="en-US">
                <a:latin typeface="Segoe UI" panose="020B0502040204020203" pitchFamily="34" charset="0"/>
                <a:cs typeface="Segoe UI" panose="020B0502040204020203" pitchFamily="34" charset="0"/>
              </a:rPr>
              <a:t> in real-time for use between different applications is a common scenario.</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3</a:t>
            </a:fld>
            <a:endParaRPr lang="en-US"/>
          </a:p>
        </p:txBody>
      </p:sp>
    </p:spTree>
    <p:extLst>
      <p:ext uri="{BB962C8B-B14F-4D97-AF65-F5344CB8AC3E}">
        <p14:creationId xmlns:p14="http://schemas.microsoft.com/office/powerpoint/2010/main" val="25526458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Processing streaming data for Big Data scenarios</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4</a:t>
            </a:fld>
            <a:endParaRPr lang="en-US"/>
          </a:p>
        </p:txBody>
      </p:sp>
    </p:spTree>
    <p:extLst>
      <p:ext uri="{BB962C8B-B14F-4D97-AF65-F5344CB8AC3E}">
        <p14:creationId xmlns:p14="http://schemas.microsoft.com/office/powerpoint/2010/main" val="4331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Automating tasks that need to happen at regular intervals can be easily achieved using Functions.  Whether it is for infra ops scenarios or just application architecture maintenance, Functions are a good fit.</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5</a:t>
            </a:fld>
            <a:endParaRPr lang="en-US"/>
          </a:p>
        </p:txBody>
      </p:sp>
    </p:spTree>
    <p:extLst>
      <p:ext uri="{BB962C8B-B14F-4D97-AF65-F5344CB8AC3E}">
        <p14:creationId xmlns:p14="http://schemas.microsoft.com/office/powerpoint/2010/main" val="15862325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ilding on top of the </a:t>
            </a:r>
            <a:r>
              <a:rPr lang="en-US" err="1"/>
              <a:t>FaaS</a:t>
            </a:r>
            <a:r>
              <a:rPr lang="en-US"/>
              <a:t> programming model, Azure Functions keep all the mentioned features and extend your possibilities with additional capabilities that help to reduce your development time and boost productivity, while using best in class tool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7521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Local debugging—</a:t>
            </a:r>
            <a:r>
              <a:rPr lang="en-US" sz="1000" b="0">
                <a:latin typeface="Segoe UI" panose="020B0502040204020203" pitchFamily="34" charset="0"/>
                <a:cs typeface="Segoe UI" panose="020B0502040204020203" pitchFamily="34" charset="0"/>
              </a:rPr>
              <a:t>https://docs.microsoft.com/en-us/azure/azure-functions/functions-run-local#run-functions-locally</a:t>
            </a:r>
            <a:endParaRPr lang="en-US" sz="100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CI/CD—</a:t>
            </a:r>
            <a:r>
              <a:rPr lang="en-US" sz="1000" b="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xies</a:t>
            </a:r>
            <a:r>
              <a:rPr lang="en-US" sz="1000" b="0"/>
              <a:t>—</a:t>
            </a:r>
            <a:r>
              <a:rPr lang="en-US" sz="1000"/>
              <a:t>https://docs.microsoft.com/en-us/azure/azure-functions/functions-prox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69317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none" dirty="0"/>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Languages—</a:t>
            </a:r>
            <a:r>
              <a:rPr lang="en-US" dirty="0"/>
              <a:t>https://</a:t>
            </a:r>
            <a:r>
              <a:rPr lang="en-US" dirty="0" err="1"/>
              <a:t>docs.microsoft.com</a:t>
            </a:r>
            <a:r>
              <a:rPr lang="en-US" dirty="0"/>
              <a:t>/</a:t>
            </a:r>
            <a:r>
              <a:rPr lang="en-US" dirty="0" err="1"/>
              <a:t>en</a:t>
            </a:r>
            <a:r>
              <a:rPr lang="en-US" dirty="0"/>
              <a:t>-us/azure/azure-functions/supported-langua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Dev option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Azure Functions portal—https://</a:t>
            </a:r>
            <a:r>
              <a:rPr lang="en-US" b="0" dirty="0" err="1"/>
              <a:t>docs.microsoft.com</a:t>
            </a:r>
            <a:r>
              <a:rPr lang="en-US" b="0" dirty="0"/>
              <a:t>/</a:t>
            </a:r>
            <a:r>
              <a:rPr lang="en-US" b="0" dirty="0" err="1"/>
              <a:t>en</a:t>
            </a:r>
            <a:r>
              <a:rPr lang="en-US" b="0" dirty="0"/>
              <a:t>-us/azure/azure-functions/functions-create-first-azure-function</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Visual Studio—https://</a:t>
            </a:r>
            <a:r>
              <a:rPr lang="en-US" b="0" dirty="0" err="1"/>
              <a:t>docs.microsoft.com</a:t>
            </a:r>
            <a:r>
              <a:rPr lang="en-US" b="0" dirty="0"/>
              <a:t>/</a:t>
            </a:r>
            <a:r>
              <a:rPr lang="en-US" b="0" dirty="0" err="1"/>
              <a:t>en</a:t>
            </a:r>
            <a:r>
              <a:rPr lang="en-US" b="0" dirty="0"/>
              <a:t>-us/azure/azure-functions/functions-develop-v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Visual Studio Code—https://</a:t>
            </a:r>
            <a:r>
              <a:rPr lang="en-US" b="0" dirty="0" err="1"/>
              <a:t>code.visualstudio.com</a:t>
            </a:r>
            <a:r>
              <a:rPr lang="en-US" b="0" dirty="0"/>
              <a:t>/doc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CLI—https://</a:t>
            </a:r>
            <a:r>
              <a:rPr lang="en-US" b="0" dirty="0" err="1"/>
              <a:t>docs.microsoft.com</a:t>
            </a:r>
            <a:r>
              <a:rPr lang="en-US" b="0" dirty="0"/>
              <a:t>/</a:t>
            </a:r>
            <a:r>
              <a:rPr lang="en-US" b="0" dirty="0" err="1"/>
              <a:t>en</a:t>
            </a:r>
            <a:r>
              <a:rPr lang="en-US" b="0" dirty="0"/>
              <a:t>-us/azure/azure-functions/functions-create-first-azure-function-azure-cli</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Java/Maven—https://</a:t>
            </a:r>
            <a:r>
              <a:rPr lang="en-US" b="0" dirty="0" err="1"/>
              <a:t>docs.microsoft.com</a:t>
            </a:r>
            <a:r>
              <a:rPr lang="en-US" b="0" dirty="0"/>
              <a:t>/</a:t>
            </a:r>
            <a:r>
              <a:rPr lang="en-US" b="0" dirty="0" err="1"/>
              <a:t>en</a:t>
            </a:r>
            <a:r>
              <a:rPr lang="en-US" b="0" dirty="0"/>
              <a:t>-us/azure/azure-functions/functions-create-first-java-maven</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Hosting options—</a:t>
            </a:r>
            <a:r>
              <a:rPr lang="en-US" dirty="0"/>
              <a:t>https://</a:t>
            </a:r>
            <a:r>
              <a:rPr lang="en-US" dirty="0" err="1"/>
              <a:t>azure.microsoft.com</a:t>
            </a:r>
            <a:r>
              <a:rPr lang="en-US" dirty="0"/>
              <a:t>/</a:t>
            </a:r>
            <a:r>
              <a:rPr lang="en-US" dirty="0" err="1"/>
              <a:t>en</a:t>
            </a:r>
            <a:r>
              <a:rPr lang="en-US" dirty="0"/>
              <a:t>-us/pricing/details/functions/</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urable Functions</a:t>
            </a:r>
            <a:r>
              <a:rPr lang="en-US" b="0" dirty="0"/>
              <a:t>—</a:t>
            </a:r>
            <a:r>
              <a:rPr lang="en-US" dirty="0"/>
              <a:t>https://</a:t>
            </a:r>
            <a:r>
              <a:rPr lang="en-US" dirty="0" err="1"/>
              <a:t>docs.microsoft.com</a:t>
            </a:r>
            <a:r>
              <a:rPr lang="en-US" dirty="0"/>
              <a:t>/</a:t>
            </a:r>
            <a:r>
              <a:rPr lang="en-US" dirty="0" err="1"/>
              <a:t>en</a:t>
            </a:r>
            <a:r>
              <a:rPr lang="en-US" dirty="0"/>
              <a:t>-us/azure/azure-functions/durable-functions-overview</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2281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19 12: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20110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 Create your Azure Function using Visual Studio https://docs.microsoft.com/en-us/azure/azure-functions/functions-create-your-first-function-visual-studi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AF54D4A6-3229-4F3B-96F5-7951DC14B2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0432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dirty="0"/>
          </a:p>
          <a:p>
            <a:pPr marL="0" indent="0">
              <a:buFontTx/>
              <a:buNone/>
            </a:pPr>
            <a:r>
              <a:rPr lang="en-US" dirty="0"/>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dirty="0"/>
          </a:p>
          <a:p>
            <a:pPr marL="0" indent="0">
              <a:buFontTx/>
              <a:buNone/>
            </a:pPr>
            <a:r>
              <a:rPr lang="en-US" dirty="0"/>
              <a:t>And serverless allows you to do just that, focus on your code and forget about the infrastructure.</a:t>
            </a:r>
          </a:p>
          <a:p>
            <a:pPr marL="0" indent="0">
              <a:buFontTx/>
              <a:buNone/>
            </a:pPr>
            <a:endParaRPr lang="en-US" dirty="0"/>
          </a:p>
          <a:p>
            <a:pPr marL="0" indent="0">
              <a:buFontTx/>
              <a:buNone/>
            </a:pPr>
            <a:r>
              <a:rPr lang="en-US" dirty="0"/>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19 12:44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33639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I would like to describe the capabilities of our core serverless services, in a little more detail, this time starting with </a:t>
            </a:r>
            <a:r>
              <a:rPr lang="en-US" b="1"/>
              <a:t>Azure Event Grid</a:t>
            </a:r>
            <a:r>
              <a:rPr lang="en-US"/>
              <a:t>. </a:t>
            </a:r>
          </a:p>
          <a:p>
            <a:r>
              <a:rPr lang="en-US"/>
              <a:t>We already talked about how important events are.</a:t>
            </a:r>
          </a:p>
          <a:p>
            <a:pPr marL="171450" indent="-171450">
              <a:buFontTx/>
              <a:buChar char="-"/>
            </a:pPr>
            <a:r>
              <a:rPr lang="en-US"/>
              <a:t>This service allows you to manage all events in a single place</a:t>
            </a:r>
          </a:p>
          <a:p>
            <a:pPr marL="171450" indent="-171450">
              <a:buFontTx/>
              <a:buChar char="-"/>
            </a:pPr>
            <a:r>
              <a:rPr lang="en-US"/>
              <a:t>Notice that multiple Azure services today publish their events into Event Grid and these events can be routed to multiple destination.  We have Functions, Logic Apps and even other services like Automation and generic </a:t>
            </a:r>
            <a:r>
              <a:rPr lang="en-US" err="1"/>
              <a:t>webhooks</a:t>
            </a:r>
            <a:r>
              <a:rPr lang="en-US"/>
              <a:t>.</a:t>
            </a:r>
          </a:p>
          <a:p>
            <a:pPr marL="171450" indent="-171450">
              <a:buFontTx/>
              <a:buChar char="-"/>
            </a:pPr>
            <a:r>
              <a:rPr lang="en-US"/>
              <a:t>You can also create your own customer events</a:t>
            </a:r>
          </a:p>
          <a:p>
            <a:endParaRPr lang="en-US"/>
          </a:p>
          <a:p>
            <a:r>
              <a:rPr lang="en-US"/>
              <a:t>The rich set of publishers and consumers opens up many interesting scenarios for you to construct </a:t>
            </a:r>
            <a:r>
              <a:rPr lang="en-US" b="1"/>
              <a:t>already</a:t>
            </a:r>
            <a:r>
              <a:rPr lang="en-US"/>
              <a:t>.  And the list of services that will publish their events to Event Grid will continue to grow over time.</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19 12:4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82984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erms of performance and scale, Event Grid makes some strong guarantees.</a:t>
            </a:r>
          </a:p>
          <a:p>
            <a:pPr marL="171450" indent="-171450">
              <a:buFontTx/>
              <a:buChar char="-"/>
            </a:pPr>
            <a:r>
              <a:rPr lang="en-US"/>
              <a:t>Sub-second e2e latency in the 99</a:t>
            </a:r>
            <a:r>
              <a:rPr lang="en-US" baseline="30000"/>
              <a:t>th</a:t>
            </a:r>
            <a:r>
              <a:rPr lang="en-US"/>
              <a:t> percentile, which is as close to real-time delivery as it gets</a:t>
            </a:r>
          </a:p>
          <a:p>
            <a:pPr marL="171450" indent="-171450">
              <a:buFontTx/>
              <a:buChar char="-"/>
            </a:pPr>
            <a:r>
              <a:rPr lang="en-US"/>
              <a:t>An ability to route about 10 million events per second, so massive scale</a:t>
            </a:r>
          </a:p>
          <a:p>
            <a:pPr marL="171450" indent="-171450">
              <a:buFontTx/>
              <a:buChar char="-"/>
            </a:pPr>
            <a:r>
              <a:rPr lang="en-US"/>
              <a:t>And, an intelligent logic to retry the event delivery if the first time doesn’t succeed</a:t>
            </a:r>
          </a:p>
          <a:p>
            <a:pPr marL="0" indent="0">
              <a:buFontTx/>
              <a:buNone/>
            </a:pPr>
            <a:r>
              <a:rPr lang="en-US"/>
              <a:t>All of these make Event Grid a very powerful event backbone for your serverless applications.</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19 12:4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2818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Moving on to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Logic Apps is a service that provides a visual design experience for creating serverless workflows in the cloud </a:t>
            </a:r>
            <a:r>
              <a:rPr kumimoji="0" lang="en-US" sz="12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t>Another key value of this service is that, it provides connections with multiple services and allows you to orchestrate all these services along with the </a:t>
            </a:r>
            <a:r>
              <a:rPr lang="en-US" sz="1200" b="1"/>
              <a:t>functions </a:t>
            </a:r>
            <a:r>
              <a:rPr lang="en-US" sz="120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t>Lastly all of these workflows are internally represented using a </a:t>
            </a:r>
            <a:r>
              <a:rPr lang="en-US" sz="1200" b="1"/>
              <a:t>declarative</a:t>
            </a:r>
            <a:r>
              <a:rPr lang="en-US" sz="1200"/>
              <a:t> definition format, again making it very friendly with your existing CI/CD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19 12:4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48019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gic Apps support more than 170 connectors already.  It goes without saying that it supports </a:t>
            </a:r>
            <a:r>
              <a:rPr lang="en-US" b="1"/>
              <a:t>most</a:t>
            </a:r>
            <a:r>
              <a:rPr lang="en-US"/>
              <a:t> Azure services but you can see from this list that it also supports many popular </a:t>
            </a:r>
            <a:r>
              <a:rPr lang="en-US" b="1"/>
              <a:t>3</a:t>
            </a:r>
            <a:r>
              <a:rPr lang="en-US" b="1" baseline="30000"/>
              <a:t>rd</a:t>
            </a:r>
            <a:r>
              <a:rPr lang="en-US" b="1"/>
              <a:t> party </a:t>
            </a:r>
            <a:r>
              <a:rPr lang="en-US"/>
              <a:t>services like Dropbox, Twitter, Salesforce and so on.</a:t>
            </a:r>
          </a:p>
          <a:p>
            <a:endParaRPr lang="en-US"/>
          </a:p>
          <a:p>
            <a:r>
              <a:rPr lang="en-US"/>
              <a:t>And it does that </a:t>
            </a:r>
            <a:r>
              <a:rPr lang="en-US" b="1"/>
              <a:t>without </a:t>
            </a:r>
            <a:r>
              <a:rPr lang="en-US"/>
              <a:t>requiring you to understand how any of these other services work.  It </a:t>
            </a:r>
            <a:r>
              <a:rPr lang="en-US" b="1"/>
              <a:t>completely </a:t>
            </a:r>
            <a:r>
              <a:rPr lang="en-US"/>
              <a:t>abstracts the integration details of how to communicate with these other services and their specific API, SDKs and protocols.</a:t>
            </a:r>
          </a:p>
          <a:p>
            <a:endParaRPr lang="en-US"/>
          </a:p>
          <a:p>
            <a:r>
              <a:rPr lang="en-US"/>
              <a:t>And now to talk about the details of Azure Functions, let me call back the person who has been working on this thing before it was </a:t>
            </a:r>
            <a:r>
              <a:rPr lang="en-US" b="1"/>
              <a:t>a thing</a:t>
            </a:r>
            <a:r>
              <a:rPr lang="en-US"/>
              <a:t>.  </a:t>
            </a:r>
            <a:r>
              <a:rPr lang="en-US" b="1"/>
              <a:t>Chris</a:t>
            </a:r>
            <a:r>
              <a:rPr lang="en-US"/>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9556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19 12:4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73092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19 12:4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77674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 https://docs.microsoft.com/en-us/azure/logic-apps/quickstart-create-first-logic-app-workflow</a:t>
            </a:r>
          </a:p>
        </p:txBody>
      </p:sp>
      <p:sp>
        <p:nvSpPr>
          <p:cNvPr id="4" name="Slide Number Placeholder 3"/>
          <p:cNvSpPr>
            <a:spLocks noGrp="1"/>
          </p:cNvSpPr>
          <p:nvPr>
            <p:ph type="sldNum" sz="quarter" idx="5"/>
          </p:nvPr>
        </p:nvSpPr>
        <p:spPr/>
        <p:txBody>
          <a:bodyPr/>
          <a:lstStyle/>
          <a:p>
            <a:fld id="{AF54D4A6-3229-4F3B-96F5-7951DC14B2B9}" type="slidenum">
              <a:rPr lang="en-US" smtClean="0"/>
              <a:t>29</a:t>
            </a:fld>
            <a:endParaRPr lang="en-US"/>
          </a:p>
        </p:txBody>
      </p:sp>
    </p:spTree>
    <p:extLst>
      <p:ext uri="{BB962C8B-B14F-4D97-AF65-F5344CB8AC3E}">
        <p14:creationId xmlns:p14="http://schemas.microsoft.com/office/powerpoint/2010/main" val="3598378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89123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8346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88139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2593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panose="020B0502040204020203" pitchFamily="34" charset="0"/>
                <a:cs typeface="Segoe UI" panose="020B0502040204020203" pitchFamily="34" charset="0"/>
              </a:rPr>
              <a:t>We provide not just a single service but a full platform that you can use to construct cloud native applications.  At the core are three main services:</a:t>
            </a:r>
          </a:p>
          <a:p>
            <a:r>
              <a:rPr lang="en-US">
                <a:latin typeface="Segoe UI" panose="020B0502040204020203" pitchFamily="34" charset="0"/>
                <a:cs typeface="Segoe UI" panose="020B0502040204020203" pitchFamily="34" charset="0"/>
              </a:rPr>
              <a:t>- Functions: Event-driven </a:t>
            </a:r>
            <a:r>
              <a:rPr lang="en-US" err="1">
                <a:latin typeface="Segoe UI" panose="020B0502040204020203" pitchFamily="34" charset="0"/>
                <a:cs typeface="Segoe UI" panose="020B0502040204020203" pitchFamily="34" charset="0"/>
              </a:rPr>
              <a:t>serverless</a:t>
            </a:r>
            <a:r>
              <a:rPr lang="en-US">
                <a:latin typeface="Segoe UI" panose="020B0502040204020203" pitchFamily="34" charset="0"/>
                <a:cs typeface="Segoe UI" panose="020B0502040204020203" pitchFamily="34" charset="0"/>
              </a:rPr>
              <a:t> compute experience</a:t>
            </a:r>
          </a:p>
          <a:p>
            <a:r>
              <a:rPr lang="en-US">
                <a:latin typeface="Segoe UI" panose="020B0502040204020203" pitchFamily="34" charset="0"/>
                <a:cs typeface="Segoe UI" panose="020B0502040204020203" pitchFamily="34" charset="0"/>
              </a:rPr>
              <a:t>- Event Grid: Intelligent event routing service that bring both 1st party and 3rd party events to </a:t>
            </a:r>
            <a:r>
              <a:rPr lang="en-US" err="1">
                <a:latin typeface="Segoe UI" panose="020B0502040204020203" pitchFamily="34" charset="0"/>
                <a:cs typeface="Segoe UI" panose="020B0502040204020203" pitchFamily="34" charset="0"/>
              </a:rPr>
              <a:t>serverless</a:t>
            </a:r>
            <a:r>
              <a:rPr lang="en-US">
                <a:latin typeface="Segoe UI" panose="020B0502040204020203" pitchFamily="34" charset="0"/>
                <a:cs typeface="Segoe UI" panose="020B0502040204020203" pitchFamily="34" charset="0"/>
              </a:rPr>
              <a:t> compute to act upon.</a:t>
            </a:r>
          </a:p>
          <a:p>
            <a:r>
              <a:rPr lang="en-US">
                <a:latin typeface="Segoe UI" panose="020B0502040204020203" pitchFamily="34" charset="0"/>
                <a:cs typeface="Segoe UI" panose="020B0502040204020203" pitchFamily="34" charset="0"/>
              </a:rPr>
              <a:t>- Logic Apps: Ability to create workflows and orchestrate processes in a rich designer experience.</a:t>
            </a:r>
          </a:p>
          <a:p>
            <a:endParaRPr lang="en-US">
              <a:latin typeface="Segoe UI" panose="020B0502040204020203" pitchFamily="34" charset="0"/>
              <a:cs typeface="Segoe UI" panose="020B0502040204020203" pitchFamily="34" charset="0"/>
            </a:endParaRPr>
          </a:p>
          <a:p>
            <a:r>
              <a:rPr lang="en-US">
                <a:latin typeface="Segoe UI" panose="020B0502040204020203" pitchFamily="34" charset="0"/>
                <a:cs typeface="Segoe UI" panose="020B0502040204020203" pitchFamily="34" charset="0"/>
              </a:rPr>
              <a:t>Along side these core services, we provide a host of other managed building block services – like Database (Cosmos DB), Storage, Cognitive Services, IoT services etc.  These services can be utilized by developers to build fully </a:t>
            </a:r>
            <a:r>
              <a:rPr lang="en-US" err="1">
                <a:latin typeface="Segoe UI" panose="020B0502040204020203" pitchFamily="34" charset="0"/>
                <a:cs typeface="Segoe UI" panose="020B0502040204020203" pitchFamily="34" charset="0"/>
              </a:rPr>
              <a:t>serverless</a:t>
            </a:r>
            <a:r>
              <a:rPr lang="en-US">
                <a:latin typeface="Segoe UI" panose="020B0502040204020203" pitchFamily="34" charset="0"/>
                <a:cs typeface="Segoe UI" panose="020B0502040204020203" pitchFamily="34" charset="0"/>
              </a:rPr>
              <a:t> applications which don’t require any infrastructure managemen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1428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Building backends for web applications.  An example could be a web app adding incoming orders to a queue and then Functions automatically picking up those orders to process and adding the output to a Cosmos DB.</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9</a:t>
            </a:fld>
            <a:endParaRPr lang="en-US"/>
          </a:p>
        </p:txBody>
      </p:sp>
    </p:spTree>
    <p:extLst>
      <p:ext uri="{BB962C8B-B14F-4D97-AF65-F5344CB8AC3E}">
        <p14:creationId xmlns:p14="http://schemas.microsoft.com/office/powerpoint/2010/main" val="3790473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Building backends for mobile applications.  A mobile app makes an API call to a Function, which does some processing and stores the data in Cosmos DB.  This in turn again triggers another </a:t>
            </a:r>
            <a:r>
              <a:rPr lang="en-US" err="1">
                <a:latin typeface="Segoe UI" panose="020B0502040204020203" pitchFamily="34" charset="0"/>
                <a:cs typeface="Segoe UI" panose="020B0502040204020203" pitchFamily="34" charset="0"/>
              </a:rPr>
              <a:t>functioin</a:t>
            </a:r>
            <a:r>
              <a:rPr lang="en-US">
                <a:latin typeface="Segoe UI" panose="020B0502040204020203" pitchFamily="34" charset="0"/>
                <a:cs typeface="Segoe UI" panose="020B0502040204020203" pitchFamily="34" charset="0"/>
              </a:rPr>
              <a:t> which calls Notification Hub to send notifications out to multiple mobile devices.</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0</a:t>
            </a:fld>
            <a:endParaRPr lang="en-US"/>
          </a:p>
        </p:txBody>
      </p:sp>
    </p:spTree>
    <p:extLst>
      <p:ext uri="{BB962C8B-B14F-4D97-AF65-F5344CB8AC3E}">
        <p14:creationId xmlns:p14="http://schemas.microsoft.com/office/powerpoint/2010/main" val="15817107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4.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4.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Master" Target="../slideMasters/slideMaster8.xml"/><Relationship Id="rId4" Type="http://schemas.openxmlformats.org/officeDocument/2006/relationships/image" Target="../media/image45.emf"/></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30.emf"/><Relationship Id="rId1" Type="http://schemas.openxmlformats.org/officeDocument/2006/relationships/slideMaster" Target="../slideMasters/slideMaster8.xml"/><Relationship Id="rId4" Type="http://schemas.openxmlformats.org/officeDocument/2006/relationships/image" Target="../media/image47.pn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0.emf"/><Relationship Id="rId1" Type="http://schemas.openxmlformats.org/officeDocument/2006/relationships/slideMaster" Target="../slideMasters/slideMaster9.xml"/><Relationship Id="rId4" Type="http://schemas.openxmlformats.org/officeDocument/2006/relationships/image" Target="../media/image50.svg"/></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5941004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23772382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3_Sec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46222654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8533349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1225440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97932279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18485193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4740721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2524800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4_Section">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7117072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4303572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478930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4859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Slide 1">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3" t="15709" r="-3"/>
          <a:stretch/>
        </p:blipFill>
        <p:spPr>
          <a:xfrm>
            <a:off x="0" y="0"/>
            <a:ext cx="12436475" cy="6994525"/>
          </a:xfrm>
          <a:prstGeom prst="rect">
            <a:avLst/>
          </a:prstGeom>
        </p:spPr>
      </p:pic>
      <p:sp>
        <p:nvSpPr>
          <p:cNvPr id="9" name="Title 1"/>
          <p:cNvSpPr>
            <a:spLocks noGrp="1"/>
          </p:cNvSpPr>
          <p:nvPr>
            <p:ph type="title"/>
          </p:nvPr>
        </p:nvSpPr>
        <p:spPr>
          <a:xfrm>
            <a:off x="274702" y="1998276"/>
            <a:ext cx="9144000" cy="1828786"/>
          </a:xfrm>
          <a:solidFill>
            <a:schemeClr val="bg1">
              <a:alpha val="75000"/>
            </a:schemeClr>
          </a:solidFill>
          <a:ln w="12700">
            <a:solidFill>
              <a:schemeClr val="bg1"/>
            </a:solidFill>
          </a:ln>
        </p:spPr>
        <p:txBody>
          <a:bodyPr lIns="146304" tIns="91440" rIns="146304" bIns="91440" anchor="t" anchorCtr="0"/>
          <a:lstStyle>
            <a:lvl1pPr>
              <a:defRPr lang="en-US" sz="4799" dirty="0">
                <a:solidFill>
                  <a:srgbClr val="181A19"/>
                </a:solidFill>
              </a:defRPr>
            </a:lvl1pPr>
          </a:lstStyle>
          <a:p>
            <a:endParaRPr lang="en-US"/>
          </a:p>
        </p:txBody>
      </p:sp>
      <p:sp>
        <p:nvSpPr>
          <p:cNvPr id="5" name="Text Placeholder 4"/>
          <p:cNvSpPr>
            <a:spLocks noGrp="1"/>
          </p:cNvSpPr>
          <p:nvPr>
            <p:ph type="body" sz="quarter" idx="12"/>
          </p:nvPr>
        </p:nvSpPr>
        <p:spPr>
          <a:xfrm>
            <a:off x="274700" y="3823643"/>
            <a:ext cx="9144000" cy="1828800"/>
          </a:xfrm>
          <a:solidFill>
            <a:schemeClr val="bg1">
              <a:alpha val="75000"/>
            </a:schemeClr>
          </a:solidFill>
          <a:ln w="12700">
            <a:solidFill>
              <a:schemeClr val="bg1"/>
            </a:solidFill>
          </a:ln>
        </p:spPr>
        <p:txBody>
          <a:bodyPr lIns="182880" tIns="146304" rIns="182880" bIns="146304">
            <a:noAutofit/>
          </a:bodyPr>
          <a:lstStyle>
            <a:lvl1pPr marL="0" indent="0">
              <a:spcBef>
                <a:spcPts val="0"/>
              </a:spcBef>
              <a:buNone/>
              <a:defRPr sz="3599" spc="0" baseline="0">
                <a:solidFill>
                  <a:srgbClr val="181A19"/>
                </a:solidFill>
                <a:latin typeface="+mj-lt"/>
              </a:defRPr>
            </a:lvl1pPr>
          </a:lstStyle>
          <a:p>
            <a:pPr lvl="0"/>
            <a:endParaRPr lang="en-US"/>
          </a:p>
        </p:txBody>
      </p:sp>
      <p:grpSp>
        <p:nvGrpSpPr>
          <p:cNvPr id="8" name="Group 7"/>
          <p:cNvGrpSpPr>
            <a:grpSpLocks noChangeAspect="1"/>
          </p:cNvGrpSpPr>
          <p:nvPr userDrawn="1"/>
        </p:nvGrpSpPr>
        <p:grpSpPr bwMode="black">
          <a:xfrm>
            <a:off x="274702" y="239936"/>
            <a:ext cx="1968534" cy="422621"/>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8805104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362561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1"/>
            <a:ext cx="11888787" cy="2497030"/>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5733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4119564" y="6483350"/>
            <a:ext cx="4197350" cy="371475"/>
          </a:xfrm>
          <a:prstGeom prst="rect">
            <a:avLst/>
          </a:prstGeom>
        </p:spPr>
        <p:txBody>
          <a:bodyPr/>
          <a:lstStyle/>
          <a:p>
            <a:r>
              <a:rPr lang="en-US">
                <a:solidFill>
                  <a:srgbClr val="505050">
                    <a:tint val="75000"/>
                  </a:srgbClr>
                </a:solidFill>
              </a:rPr>
              <a:t>Microsoft NDA-To be shared under NDA only</a:t>
            </a:r>
          </a:p>
        </p:txBody>
      </p:sp>
    </p:spTree>
    <p:extLst>
      <p:ext uri="{BB962C8B-B14F-4D97-AF65-F5344CB8AC3E}">
        <p14:creationId xmlns:p14="http://schemas.microsoft.com/office/powerpoint/2010/main" val="104554832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sp>
        <p:nvSpPr>
          <p:cNvPr id="141"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468472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sp>
        <p:nvSpPr>
          <p:cNvPr id="141"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436513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441951"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63118" y="479425"/>
            <a:ext cx="1451843" cy="310896"/>
          </a:xfrm>
          <a:prstGeom prst="rect">
            <a:avLst/>
          </a:prstGeom>
        </p:spPr>
      </p:pic>
      <p:sp>
        <p:nvSpPr>
          <p:cNvPr id="143"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55871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727645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23605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014959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83930685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132805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2118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817089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834809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035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17936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330099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6"/>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9602528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15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7914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313913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47914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5"/>
            <a:ext cx="5943535" cy="2011665"/>
          </a:xfrm>
          <a:noFill/>
        </p:spPr>
        <p:txBody>
          <a:bodyPr lIns="146304" tIns="91440" rIns="146304" bIns="91440" anchor="t" anchorCtr="0"/>
          <a:lstStyle>
            <a:lvl1pPr>
              <a:defRPr sz="5396"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6" y="3680144"/>
            <a:ext cx="4846268" cy="1009740"/>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06074" y="1394169"/>
            <a:ext cx="7376710" cy="367079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394" y="6014972"/>
            <a:ext cx="1856092" cy="682658"/>
          </a:xfrm>
          <a:prstGeom prst="rect">
            <a:avLst/>
          </a:prstGeom>
        </p:spPr>
      </p:pic>
    </p:spTree>
    <p:extLst>
      <p:ext uri="{BB962C8B-B14F-4D97-AF65-F5344CB8AC3E}">
        <p14:creationId xmlns:p14="http://schemas.microsoft.com/office/powerpoint/2010/main" val="11649469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47628515"/>
      </p:ext>
    </p:extLst>
  </p:cSld>
  <p:clrMapOvr>
    <a:masterClrMapping/>
  </p:clrMapOvr>
  <p:transition spd="slow">
    <p:cove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Content placeholder</a:t>
            </a:r>
          </a:p>
        </p:txBody>
      </p:sp>
    </p:spTree>
    <p:extLst>
      <p:ext uri="{BB962C8B-B14F-4D97-AF65-F5344CB8AC3E}">
        <p14:creationId xmlns:p14="http://schemas.microsoft.com/office/powerpoint/2010/main" val="2257440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2"/>
            <a:ext cx="11887200" cy="2172903"/>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4332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8"/>
            <a:ext cx="4310062" cy="3278187"/>
          </a:xfrm>
        </p:spPr>
        <p:txBody>
          <a:bodyPr/>
          <a:lstStyle/>
          <a:p>
            <a:r>
              <a:rPr lang="en-US"/>
              <a:t>Click to edit Master title style</a:t>
            </a:r>
          </a:p>
        </p:txBody>
      </p:sp>
      <p:sp>
        <p:nvSpPr>
          <p:cNvPr id="3" name="Rectangle 2"/>
          <p:cNvSpPr/>
          <p:nvPr userDrawn="1"/>
        </p:nvSpPr>
        <p:spPr bwMode="auto">
          <a:xfrm>
            <a:off x="4846638" y="5"/>
            <a:ext cx="7589836" cy="6994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648" fontAlgn="base">
              <a:lnSpc>
                <a:spcPct val="90000"/>
              </a:lnSpc>
              <a:spcBef>
                <a:spcPct val="0"/>
              </a:spcBef>
              <a:spcAft>
                <a:spcPct val="0"/>
              </a:spcAft>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0574767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36043521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9946639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6228692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9234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629796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38718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5389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27582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1914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1667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34"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12906105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96481796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9199714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56339612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63305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0570050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24885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69216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19495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0575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05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61744140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128" y="6559056"/>
            <a:ext cx="11553197" cy="96950"/>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445379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221968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50540"/>
            <a:ext cx="6402388" cy="892840"/>
          </a:xfrm>
          <a:noFill/>
        </p:spPr>
        <p:txBody>
          <a:bodyPr lIns="146304" tIns="91440" rIns="146304" bIns="91440" anchor="t" anchorCtr="0"/>
          <a:lstStyle>
            <a:lvl1pPr>
              <a:defRPr sz="5400" spc="-100" baseline="0">
                <a:gradFill>
                  <a:gsLst>
                    <a:gs pos="8718">
                      <a:srgbClr val="353535"/>
                    </a:gs>
                    <a:gs pos="34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4638" y="3951527"/>
            <a:ext cx="4572000" cy="1710429"/>
          </a:xfrm>
        </p:spPr>
        <p:txBody>
          <a:bodyPr lIns="164592" tIns="109728" rIns="164592" bIns="109728">
            <a:noAutofit/>
          </a:bodyPr>
          <a:lstStyle>
            <a:lvl1pPr marL="0" indent="0">
              <a:spcBef>
                <a:spcPts val="0"/>
              </a:spcBef>
              <a:buNone/>
              <a:defRPr sz="3200"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5277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80413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441314" y="2"/>
            <a:ext cx="6993383" cy="6994521"/>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8991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54864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5486336" cy="1828800"/>
          </a:xfrm>
          <a:noFill/>
        </p:spPr>
        <p:txBody>
          <a:bodyPr lIns="146304" tIns="91440" rIns="146304" bIns="91440" anchor="t" anchorCtr="0"/>
          <a:lstStyle>
            <a:lvl1pPr>
              <a:defRPr sz="48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5487988" cy="1828800"/>
          </a:xfrm>
        </p:spPr>
        <p:txBody>
          <a:bodyPr lIns="164592" tIns="109728" rIns="164592"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7128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1848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481213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617097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830764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393701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58515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09482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393874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2456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99967906"/>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202860248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598736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625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700977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23405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66472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70C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0098" y="551034"/>
            <a:ext cx="874041" cy="189563"/>
          </a:xfrm>
          <a:prstGeom prst="rect">
            <a:avLst/>
          </a:prstGeom>
        </p:spPr>
      </p:pic>
    </p:spTree>
    <p:extLst>
      <p:ext uri="{BB962C8B-B14F-4D97-AF65-F5344CB8AC3E}">
        <p14:creationId xmlns:p14="http://schemas.microsoft.com/office/powerpoint/2010/main" val="272061463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ue Blank">
    <p:bg>
      <p:bgPr>
        <a:solidFill>
          <a:srgbClr val="0070C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96763672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sp>
        <p:nvSpPr>
          <p:cNvPr id="7" name="Rectangle 6"/>
          <p:cNvSpPr/>
          <p:nvPr userDrawn="1"/>
        </p:nvSpPr>
        <p:spPr>
          <a:xfrm>
            <a:off x="0" y="1"/>
            <a:ext cx="2940145"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 name="Shape 1644"/>
          <p:cNvSpPr txBox="1">
            <a:spLocks/>
          </p:cNvSpPr>
          <p:nvPr userDrawn="1"/>
        </p:nvSpPr>
        <p:spPr bwMode="auto">
          <a:xfrm>
            <a:off x="300902" y="448257"/>
            <a:ext cx="2338342" cy="2436414"/>
          </a:xfrm>
          <a:prstGeom prst="rect">
            <a:avLst/>
          </a:prstGeom>
          <a:noFill/>
        </p:spPr>
        <p:txBody>
          <a:bodyPr vert="horz" wrap="square" lIns="198950" tIns="124344" rIns="198950" bIns="124344" rtlCol="0" anchor="t" anchorCtr="0">
            <a:noAutofit/>
          </a:bodyPr>
          <a:lstStyle>
            <a:lvl1pPr algn="l" defTabSz="913231" rtl="0" eaLnBrk="0" fontAlgn="base" hangingPunct="0">
              <a:lnSpc>
                <a:spcPct val="90000"/>
              </a:lnSpc>
              <a:spcBef>
                <a:spcPct val="0"/>
              </a:spcBef>
              <a:spcAft>
                <a:spcPct val="0"/>
              </a:spcAft>
              <a:defRPr lang="en-US" sz="5398" kern="1200" spc="-133" baseline="0">
                <a:ln w="3175">
                  <a:noFill/>
                </a:ln>
                <a:solidFill>
                  <a:srgbClr val="FFFFFF"/>
                </a:solidFill>
                <a:latin typeface="Segoe UI Light"/>
                <a:ea typeface="ＭＳ Ｐゴシック" charset="0"/>
                <a:cs typeface="Segoe UI Light"/>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kumimoji="0" lang="en-US" sz="3672" u="none" strike="noStrike" kern="1200" cap="none" spc="0" normalizeH="0" baseline="0" noProof="0">
                <a:ln w="3175">
                  <a:noFill/>
                </a:ln>
                <a:solidFill>
                  <a:srgbClr val="FFFFFF"/>
                </a:solidFill>
                <a:effectLst/>
                <a:uLnTx/>
                <a:uFillTx/>
                <a:latin typeface="Segoe UI Light" charset="0"/>
                <a:ea typeface="Segoe UI Light" charset="0"/>
                <a:cs typeface="Segoe UI Light" charset="0"/>
                <a:sym typeface="Calibri"/>
              </a:rPr>
              <a:t>Our speakers</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79403422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lumn Right Dark">
    <p:bg>
      <p:bgPr>
        <a:solidFill>
          <a:schemeClr val="accent5">
            <a:lumMod val="50000"/>
          </a:schemeClr>
        </a:solidFill>
        <a:effectLst/>
      </p:bgPr>
    </p:bg>
    <p:spTree>
      <p:nvGrpSpPr>
        <p:cNvPr id="1" name=""/>
        <p:cNvGrpSpPr/>
        <p:nvPr/>
      </p:nvGrpSpPr>
      <p:grpSpPr>
        <a:xfrm>
          <a:off x="0" y="0"/>
          <a:ext cx="0" cy="0"/>
          <a:chOff x="0" y="0"/>
          <a:chExt cx="0" cy="0"/>
        </a:xfrm>
      </p:grpSpPr>
      <p:sp>
        <p:nvSpPr>
          <p:cNvPr id="51" name="Rectangle 50"/>
          <p:cNvSpPr/>
          <p:nvPr userDrawn="1"/>
        </p:nvSpPr>
        <p:spPr>
          <a:xfrm>
            <a:off x="0" y="0"/>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130656808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Column Right Dark">
    <p:bg>
      <p:bgPr>
        <a:solidFill>
          <a:schemeClr val="accent5">
            <a:lumMod val="50000"/>
          </a:schemeClr>
        </a:solidFill>
        <a:effectLst/>
      </p:bgPr>
    </p:bg>
    <p:spTree>
      <p:nvGrpSpPr>
        <p:cNvPr id="1" name=""/>
        <p:cNvGrpSpPr/>
        <p:nvPr/>
      </p:nvGrpSpPr>
      <p:grpSpPr>
        <a:xfrm>
          <a:off x="0" y="0"/>
          <a:ext cx="0" cy="0"/>
          <a:chOff x="0" y="0"/>
          <a:chExt cx="0" cy="0"/>
        </a:xfrm>
      </p:grpSpPr>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
        <p:nvSpPr>
          <p:cNvPr id="4" name="Rectangle 3"/>
          <p:cNvSpPr/>
          <p:nvPr userDrawn="1"/>
        </p:nvSpPr>
        <p:spPr>
          <a:xfrm flipH="1">
            <a:off x="0" y="1"/>
            <a:ext cx="12436475"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13639247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lumn Right Light">
    <p:spTree>
      <p:nvGrpSpPr>
        <p:cNvPr id="1" name=""/>
        <p:cNvGrpSpPr/>
        <p:nvPr/>
      </p:nvGrpSpPr>
      <p:grpSpPr>
        <a:xfrm>
          <a:off x="0" y="0"/>
          <a:ext cx="0" cy="0"/>
          <a:chOff x="0" y="0"/>
          <a:chExt cx="0" cy="0"/>
        </a:xfrm>
      </p:grpSpPr>
      <p:sp>
        <p:nvSpPr>
          <p:cNvPr id="53" name="Rectangle 52"/>
          <p:cNvSpPr/>
          <p:nvPr userDrawn="1"/>
        </p:nvSpPr>
        <p:spPr>
          <a:xfrm>
            <a:off x="0" y="1"/>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5" name="Picture 5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83002728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lumn Right Reverse Dark">
    <p:spTree>
      <p:nvGrpSpPr>
        <p:cNvPr id="1" name=""/>
        <p:cNvGrpSpPr/>
        <p:nvPr/>
      </p:nvGrpSpPr>
      <p:grpSpPr>
        <a:xfrm>
          <a:off x="0" y="0"/>
          <a:ext cx="0" cy="0"/>
          <a:chOff x="0" y="0"/>
          <a:chExt cx="0" cy="0"/>
        </a:xfrm>
      </p:grpSpPr>
      <p:sp>
        <p:nvSpPr>
          <p:cNvPr id="49" name="Rectangle 48"/>
          <p:cNvSpPr/>
          <p:nvPr userDrawn="1"/>
        </p:nvSpPr>
        <p:spPr>
          <a:xfrm flipH="1">
            <a:off x="9426584" y="1"/>
            <a:ext cx="3009891"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0" name="Picture 4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153470305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Column Right Reverse Light">
    <p:spTree>
      <p:nvGrpSpPr>
        <p:cNvPr id="1" name=""/>
        <p:cNvGrpSpPr/>
        <p:nvPr/>
      </p:nvGrpSpPr>
      <p:grpSpPr>
        <a:xfrm>
          <a:off x="0" y="0"/>
          <a:ext cx="0" cy="0"/>
          <a:chOff x="0" y="0"/>
          <a:chExt cx="0" cy="0"/>
        </a:xfrm>
      </p:grpSpPr>
      <p:sp>
        <p:nvSpPr>
          <p:cNvPr id="5" name="Rectangle 4"/>
          <p:cNvSpPr/>
          <p:nvPr userDrawn="1"/>
        </p:nvSpPr>
        <p:spPr>
          <a:xfrm flipH="1">
            <a:off x="9426584" y="1"/>
            <a:ext cx="3009891"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0" name="Picture 4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90684348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Left Column Dark">
    <p:bg>
      <p:bgPr>
        <a:solidFill>
          <a:schemeClr val="accent5">
            <a:lumMod val="50000"/>
          </a:schemeClr>
        </a:solidFill>
        <a:effectLst/>
      </p:bgPr>
    </p:bg>
    <p:spTree>
      <p:nvGrpSpPr>
        <p:cNvPr id="1" name=""/>
        <p:cNvGrpSpPr/>
        <p:nvPr/>
      </p:nvGrpSpPr>
      <p:grpSpPr>
        <a:xfrm>
          <a:off x="0" y="0"/>
          <a:ext cx="0" cy="0"/>
          <a:chOff x="0" y="0"/>
          <a:chExt cx="0" cy="0"/>
        </a:xfrm>
      </p:grpSpPr>
      <p:sp>
        <p:nvSpPr>
          <p:cNvPr id="50" name="Rectangle 49"/>
          <p:cNvSpPr/>
          <p:nvPr userDrawn="1"/>
        </p:nvSpPr>
        <p:spPr>
          <a:xfrm>
            <a:off x="3009892" y="0"/>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1932409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eft Column Light">
    <p:spTree>
      <p:nvGrpSpPr>
        <p:cNvPr id="1" name=""/>
        <p:cNvGrpSpPr/>
        <p:nvPr/>
      </p:nvGrpSpPr>
      <p:grpSpPr>
        <a:xfrm>
          <a:off x="0" y="0"/>
          <a:ext cx="0" cy="0"/>
          <a:chOff x="0" y="0"/>
          <a:chExt cx="0" cy="0"/>
        </a:xfrm>
      </p:grpSpPr>
      <p:sp>
        <p:nvSpPr>
          <p:cNvPr id="50" name="Rectangle 49"/>
          <p:cNvSpPr/>
          <p:nvPr userDrawn="1"/>
        </p:nvSpPr>
        <p:spPr>
          <a:xfrm>
            <a:off x="3009892" y="0"/>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323550363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Left Column Reverse Dark">
    <p:bg>
      <p:bgPr>
        <a:solidFill>
          <a:srgbClr val="0070C0"/>
        </a:solidFill>
        <a:effectLst/>
      </p:bgPr>
    </p:bg>
    <p:spTree>
      <p:nvGrpSpPr>
        <p:cNvPr id="1" name=""/>
        <p:cNvGrpSpPr/>
        <p:nvPr/>
      </p:nvGrpSpPr>
      <p:grpSpPr>
        <a:xfrm>
          <a:off x="0" y="0"/>
          <a:ext cx="0" cy="0"/>
          <a:chOff x="0" y="0"/>
          <a:chExt cx="0" cy="0"/>
        </a:xfrm>
      </p:grpSpPr>
      <p:sp>
        <p:nvSpPr>
          <p:cNvPr id="51" name="Rectangle 50"/>
          <p:cNvSpPr/>
          <p:nvPr userDrawn="1"/>
        </p:nvSpPr>
        <p:spPr>
          <a:xfrm>
            <a:off x="3009891" y="2038"/>
            <a:ext cx="942658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6121488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Column Reverse Light">
    <p:bg>
      <p:bgPr>
        <a:solidFill>
          <a:schemeClr val="bg1">
            <a:lumMod val="95000"/>
          </a:schemeClr>
        </a:solidFill>
        <a:effectLst/>
      </p:bgPr>
    </p:bg>
    <p:spTree>
      <p:nvGrpSpPr>
        <p:cNvPr id="1" name=""/>
        <p:cNvGrpSpPr/>
        <p:nvPr/>
      </p:nvGrpSpPr>
      <p:grpSpPr>
        <a:xfrm>
          <a:off x="0" y="0"/>
          <a:ext cx="0" cy="0"/>
          <a:chOff x="0" y="0"/>
          <a:chExt cx="0" cy="0"/>
        </a:xfrm>
      </p:grpSpPr>
      <p:sp>
        <p:nvSpPr>
          <p:cNvPr id="51" name="Rectangle 50"/>
          <p:cNvSpPr/>
          <p:nvPr userDrawn="1"/>
        </p:nvSpPr>
        <p:spPr>
          <a:xfrm>
            <a:off x="3009891" y="2038"/>
            <a:ext cx="942658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58342456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Left Column Dark">
    <p:bg>
      <p:bgPr>
        <a:solidFill>
          <a:srgbClr val="0070C0"/>
        </a:solidFill>
        <a:effectLst/>
      </p:bgPr>
    </p:bg>
    <p:spTree>
      <p:nvGrpSpPr>
        <p:cNvPr id="1" name=""/>
        <p:cNvGrpSpPr/>
        <p:nvPr/>
      </p:nvGrpSpPr>
      <p:grpSpPr>
        <a:xfrm>
          <a:off x="0" y="0"/>
          <a:ext cx="0" cy="0"/>
          <a:chOff x="0" y="0"/>
          <a:chExt cx="0" cy="0"/>
        </a:xfrm>
      </p:grpSpPr>
      <p:sp>
        <p:nvSpPr>
          <p:cNvPr id="50" name="Rectangle 49"/>
          <p:cNvSpPr/>
          <p:nvPr userDrawn="1"/>
        </p:nvSpPr>
        <p:spPr>
          <a:xfrm>
            <a:off x="1855549" y="0"/>
            <a:ext cx="10580927"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3839978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Left Column Dark">
    <p:bg>
      <p:bgPr>
        <a:solidFill>
          <a:srgbClr val="0070C0"/>
        </a:solidFill>
        <a:effectLst/>
      </p:bgPr>
    </p:bg>
    <p:spTree>
      <p:nvGrpSpPr>
        <p:cNvPr id="1" name=""/>
        <p:cNvGrpSpPr/>
        <p:nvPr/>
      </p:nvGrpSpPr>
      <p:grpSpPr>
        <a:xfrm>
          <a:off x="0" y="0"/>
          <a:ext cx="0" cy="0"/>
          <a:chOff x="0" y="0"/>
          <a:chExt cx="0" cy="0"/>
        </a:xfrm>
      </p:grpSpPr>
      <p:sp>
        <p:nvSpPr>
          <p:cNvPr id="50" name="Rectangle 49"/>
          <p:cNvSpPr/>
          <p:nvPr userDrawn="1"/>
        </p:nvSpPr>
        <p:spPr>
          <a:xfrm>
            <a:off x="4326306" y="0"/>
            <a:ext cx="811016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87282763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Left Column Dar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0" name="Rectangle 49"/>
          <p:cNvSpPr/>
          <p:nvPr userDrawn="1"/>
        </p:nvSpPr>
        <p:spPr>
          <a:xfrm>
            <a:off x="4326306" y="0"/>
            <a:ext cx="811016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204114308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_Left Column Dark">
    <p:bg>
      <p:bgPr>
        <a:solidFill>
          <a:schemeClr val="bg1">
            <a:lumMod val="95000"/>
          </a:schemeClr>
        </a:solidFill>
        <a:effectLst/>
      </p:bgPr>
    </p:bg>
    <p:spTree>
      <p:nvGrpSpPr>
        <p:cNvPr id="1" name=""/>
        <p:cNvGrpSpPr/>
        <p:nvPr/>
      </p:nvGrpSpPr>
      <p:grpSpPr>
        <a:xfrm>
          <a:off x="0" y="0"/>
          <a:ext cx="0" cy="0"/>
          <a:chOff x="0" y="0"/>
          <a:chExt cx="0" cy="0"/>
        </a:xfrm>
      </p:grpSpPr>
      <p:sp>
        <p:nvSpPr>
          <p:cNvPr id="50" name="Rectangle 49"/>
          <p:cNvSpPr/>
          <p:nvPr userDrawn="1"/>
        </p:nvSpPr>
        <p:spPr>
          <a:xfrm>
            <a:off x="4326306" y="0"/>
            <a:ext cx="811016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0740115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olumn Right Dark">
    <p:bg>
      <p:bgPr>
        <a:solidFill>
          <a:srgbClr val="0070C0"/>
        </a:solidFill>
        <a:effectLst/>
      </p:bgPr>
    </p:bg>
    <p:spTree>
      <p:nvGrpSpPr>
        <p:cNvPr id="1" name=""/>
        <p:cNvGrpSpPr/>
        <p:nvPr/>
      </p:nvGrpSpPr>
      <p:grpSpPr>
        <a:xfrm>
          <a:off x="0" y="0"/>
          <a:ext cx="0" cy="0"/>
          <a:chOff x="0" y="0"/>
          <a:chExt cx="0" cy="0"/>
        </a:xfrm>
      </p:grpSpPr>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36106166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61585244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3118761"/>
            <a:ext cx="5486399" cy="757002"/>
          </a:xfrm>
        </p:spPr>
        <p:txBody>
          <a:bodyPr anchor="ctr">
            <a:spAutoFit/>
          </a:bodyPr>
          <a:lstStyle>
            <a:lvl1pPr>
              <a:defRPr sz="47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4133356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45128" y="6559056"/>
            <a:ext cx="11553197" cy="96950"/>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solidFill>
                </a:rPr>
                <a:t>© Microsoft Corporation</a:t>
              </a:r>
              <a:endParaRPr lang="en-US" sz="80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95914" y="2371060"/>
            <a:ext cx="3085017" cy="15574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916885" y="1511780"/>
            <a:ext cx="5519591" cy="5482745"/>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98344" y="4302474"/>
            <a:ext cx="1929472"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July 15–19, 2018</a:t>
            </a:r>
          </a:p>
          <a:p>
            <a:pPr algn="l"/>
            <a:r>
              <a:rPr lang="en-US" sz="204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264685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440956" y="0"/>
            <a:ext cx="6995519" cy="6994525"/>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95915" y="2371060"/>
            <a:ext cx="3085018" cy="15574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98344" y="4303055"/>
            <a:ext cx="1929472" cy="640363"/>
          </a:xfrm>
          <a:prstGeom prst="rect">
            <a:avLst/>
          </a:prstGeom>
          <a:noFill/>
        </p:spPr>
        <p:txBody>
          <a:bodyPr wrap="none" lIns="0" tIns="0" rIns="0" bIns="0" rtlCol="0">
            <a:spAutoFit/>
          </a:bodyPr>
          <a:lstStyle/>
          <a:p>
            <a:pPr algn="l"/>
            <a:r>
              <a:rPr lang="en-US" sz="2040">
                <a:gradFill>
                  <a:gsLst>
                    <a:gs pos="90355">
                      <a:schemeClr val="accent2"/>
                    </a:gs>
                    <a:gs pos="68282">
                      <a:schemeClr val="accent2"/>
                    </a:gs>
                  </a:gsLst>
                  <a:lin ang="5400000" scaled="0"/>
                </a:gradFill>
              </a:rPr>
              <a:t>July 15–19, 2018</a:t>
            </a:r>
          </a:p>
          <a:p>
            <a:pPr algn="l"/>
            <a:r>
              <a:rPr lang="en-US" sz="204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977923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627534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701220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857448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335303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104896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867496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00802472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022613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128" y="6559056"/>
            <a:ext cx="11553197" cy="96950"/>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7229800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022168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411352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0880523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24932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24932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1376969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249329" cy="508524"/>
          </a:xfrm>
          <a:noFill/>
        </p:spPr>
        <p:txBody>
          <a:bodyPr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3161171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4701"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96174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37656"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0504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538861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950089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950061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205015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594852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95914" y="597747"/>
            <a:ext cx="1393840"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920" y="1193732"/>
            <a:ext cx="11837321"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885482" y="1806920"/>
            <a:ext cx="3550994"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73"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73"/>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73"/>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907610" y="3136130"/>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97738" y="3247133"/>
            <a:ext cx="2766694" cy="1394459"/>
          </a:xfrm>
          <a:prstGeom prst="rect">
            <a:avLst/>
          </a:prstGeom>
          <a:effectLst/>
        </p:spPr>
      </p:pic>
    </p:spTree>
    <p:extLst>
      <p:ext uri="{BB962C8B-B14F-4D97-AF65-F5344CB8AC3E}">
        <p14:creationId xmlns:p14="http://schemas.microsoft.com/office/powerpoint/2010/main" val="3375818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8" y="3038854"/>
            <a:ext cx="6062782" cy="565027"/>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93712" y="4041282"/>
            <a:ext cx="606278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6577" y="597450"/>
            <a:ext cx="2745604"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381565" y="-22273"/>
            <a:ext cx="6051037"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grpSp>
      </p:grpSp>
    </p:spTree>
    <p:extLst>
      <p:ext uri="{BB962C8B-B14F-4D97-AF65-F5344CB8AC3E}">
        <p14:creationId xmlns:p14="http://schemas.microsoft.com/office/powerpoint/2010/main" val="300404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230389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38814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043208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882119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072907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059167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772168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381565" y="-22273"/>
            <a:ext cx="6051037"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95916" y="2631002"/>
            <a:ext cx="384447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56151825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381565" y="-22273"/>
            <a:ext cx="6051037"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grpSp>
      </p:grpSp>
      <p:sp>
        <p:nvSpPr>
          <p:cNvPr id="2" name="Title 1"/>
          <p:cNvSpPr>
            <a:spLocks noGrp="1"/>
          </p:cNvSpPr>
          <p:nvPr>
            <p:ph type="title" hasCustomPrompt="1"/>
          </p:nvPr>
        </p:nvSpPr>
        <p:spPr>
          <a:xfrm>
            <a:off x="595915" y="3040994"/>
            <a:ext cx="3845061"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7331382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52914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652914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381565" y="-22273"/>
            <a:ext cx="6051037"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grpSp>
      </p:grpSp>
    </p:spTree>
    <p:extLst>
      <p:ext uri="{BB962C8B-B14F-4D97-AF65-F5344CB8AC3E}">
        <p14:creationId xmlns:p14="http://schemas.microsoft.com/office/powerpoint/2010/main" val="65802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grpSp>
      </p:grpSp>
    </p:spTree>
    <p:extLst>
      <p:ext uri="{BB962C8B-B14F-4D97-AF65-F5344CB8AC3E}">
        <p14:creationId xmlns:p14="http://schemas.microsoft.com/office/powerpoint/2010/main" val="137583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grpSp>
      </p:grpSp>
    </p:spTree>
    <p:extLst>
      <p:ext uri="{BB962C8B-B14F-4D97-AF65-F5344CB8AC3E}">
        <p14:creationId xmlns:p14="http://schemas.microsoft.com/office/powerpoint/2010/main" val="98438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328443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571618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855734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139213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19788898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929470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565091"/>
          </a:xfrm>
        </p:spPr>
        <p:txBody>
          <a:bodyPr/>
          <a:lstStyle/>
          <a:p>
            <a:r>
              <a:rPr lang="en-US"/>
              <a:t>Click to edit Master title style</a:t>
            </a:r>
          </a:p>
        </p:txBody>
      </p:sp>
      <p:sp>
        <p:nvSpPr>
          <p:cNvPr id="3" name="Content Placeholder 2"/>
          <p:cNvSpPr>
            <a:spLocks noGrp="1"/>
          </p:cNvSpPr>
          <p:nvPr>
            <p:ph idx="1"/>
          </p:nvPr>
        </p:nvSpPr>
        <p:spPr>
          <a:xfrm>
            <a:off x="855008" y="686256"/>
            <a:ext cx="1072646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A7D9A05-F52E-4478-B8F2-A8839CA53343}" type="datetimeFigureOut">
              <a:rPr lang="en-US" smtClean="0"/>
              <a:t>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BE813DE7-B081-4198-81FE-56B8154C45BB}" type="slidenum">
              <a:rPr lang="en-US" smtClean="0"/>
              <a:t>‹#›</a:t>
            </a:fld>
            <a:endParaRPr lang="en-US"/>
          </a:p>
        </p:txBody>
      </p:sp>
    </p:spTree>
    <p:extLst>
      <p:ext uri="{BB962C8B-B14F-4D97-AF65-F5344CB8AC3E}">
        <p14:creationId xmlns:p14="http://schemas.microsoft.com/office/powerpoint/2010/main" val="172839202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322F1-6B58-4F18-9B05-9820A7DE8D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447B4F-0D98-49F8-A4B3-04930A46647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7D8F68-838E-46B8-A428-EB4639AA3F7C}"/>
              </a:ext>
            </a:extLst>
          </p:cNvPr>
          <p:cNvSpPr>
            <a:spLocks noGrp="1"/>
          </p:cNvSpPr>
          <p:nvPr>
            <p:ph type="dt" sz="half" idx="10"/>
          </p:nvPr>
        </p:nvSpPr>
        <p:spPr/>
        <p:txBody>
          <a:bodyPr/>
          <a:lstStyle/>
          <a:p>
            <a:fld id="{7ABC8699-AE5F-4773-B0FD-881169B6BACE}" type="datetimeFigureOut">
              <a:rPr lang="en-US" smtClean="0"/>
              <a:t>3/20/19</a:t>
            </a:fld>
            <a:endParaRPr lang="en-US"/>
          </a:p>
        </p:txBody>
      </p:sp>
      <p:sp>
        <p:nvSpPr>
          <p:cNvPr id="5" name="Footer Placeholder 4">
            <a:extLst>
              <a:ext uri="{FF2B5EF4-FFF2-40B4-BE49-F238E27FC236}">
                <a16:creationId xmlns:a16="http://schemas.microsoft.com/office/drawing/2014/main" id="{98F0C6D6-D300-4E76-AB7A-082C6E989E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AA433B-9DF3-4772-AF43-8E2CE9A8395E}"/>
              </a:ext>
            </a:extLst>
          </p:cNvPr>
          <p:cNvSpPr>
            <a:spLocks noGrp="1"/>
          </p:cNvSpPr>
          <p:nvPr>
            <p:ph type="sldNum" sz="quarter" idx="12"/>
          </p:nvPr>
        </p:nvSpPr>
        <p:spPr/>
        <p:txBody>
          <a:bodyPr/>
          <a:lstStyle/>
          <a:p>
            <a:fld id="{F924435B-2F1C-41CE-BAC8-AEE5F20629BB}" type="slidenum">
              <a:rPr lang="en-US" smtClean="0"/>
              <a:t>‹#›</a:t>
            </a:fld>
            <a:endParaRPr lang="en-US"/>
          </a:p>
        </p:txBody>
      </p:sp>
    </p:spTree>
    <p:extLst>
      <p:ext uri="{BB962C8B-B14F-4D97-AF65-F5344CB8AC3E}">
        <p14:creationId xmlns:p14="http://schemas.microsoft.com/office/powerpoint/2010/main" val="260201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dirty="0"/>
              </a:p>
            </p:txBody>
          </p:sp>
        </p:grpSp>
      </p:grpSp>
    </p:spTree>
    <p:extLst>
      <p:ext uri="{BB962C8B-B14F-4D97-AF65-F5344CB8AC3E}">
        <p14:creationId xmlns:p14="http://schemas.microsoft.com/office/powerpoint/2010/main" val="7547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Walk-in">
    <p:bg>
      <p:bgRef idx="1001">
        <a:schemeClr val="bg2"/>
      </p:bgRef>
    </p:bg>
    <p:spTree>
      <p:nvGrpSpPr>
        <p:cNvPr id="1" name=""/>
        <p:cNvGrpSpPr/>
        <p:nvPr/>
      </p:nvGrpSpPr>
      <p:grpSpPr>
        <a:xfrm>
          <a:off x="0" y="0"/>
          <a:ext cx="0" cy="0"/>
          <a:chOff x="0" y="0"/>
          <a:chExt cx="0" cy="0"/>
        </a:xfrm>
      </p:grpSpPr>
      <p:pic>
        <p:nvPicPr>
          <p:cNvPr id="4" name="Picture 3" descr="A sky view looking up at the camera&#10;&#10;Description generated with high confidence">
            <a:extLst>
              <a:ext uri="{FF2B5EF4-FFF2-40B4-BE49-F238E27FC236}">
                <a16:creationId xmlns:a16="http://schemas.microsoft.com/office/drawing/2014/main" id="{DAA71D16-3EE8-43BC-ACB7-565FEC06C6D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45"/>
            <a:ext cx="12436475" cy="6993835"/>
          </a:xfrm>
          <a:prstGeom prst="rect">
            <a:avLst/>
          </a:prstGeom>
        </p:spPr>
      </p:pic>
      <p:sp>
        <p:nvSpPr>
          <p:cNvPr id="54" name="Rectangle 53">
            <a:extLst>
              <a:ext uri="{FF2B5EF4-FFF2-40B4-BE49-F238E27FC236}">
                <a16:creationId xmlns:a16="http://schemas.microsoft.com/office/drawing/2014/main" id="{4899085C-4B16-41A5-A2CB-5D4798A0322E}"/>
              </a:ext>
            </a:extLst>
          </p:cNvPr>
          <p:cNvSpPr/>
          <p:nvPr userDrawn="1"/>
        </p:nvSpPr>
        <p:spPr bwMode="white">
          <a:xfrm>
            <a:off x="9344538" y="4565447"/>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3884236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acenter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userDrawn="1"/>
        </p:nvPicPr>
        <p:blipFill>
          <a:blip r:embed="rId3"/>
          <a:stretch>
            <a:fillRect/>
          </a:stretch>
        </p:blipFill>
        <p:spPr>
          <a:xfrm>
            <a:off x="9873010" y="443333"/>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3759821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siness Transformation with Data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6" name="Rectangle 25"/>
          <p:cNvSpPr/>
          <p:nvPr userDrawn="1"/>
        </p:nvSpPr>
        <p:spPr bwMode="gray">
          <a:xfrm>
            <a:off x="6538477" y="1436209"/>
            <a:ext cx="5447176" cy="3030961"/>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8"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04674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pp Innovation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310754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42748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terprise Mobility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Rectangle 27"/>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gray">
          <a:xfrm>
            <a:off x="6538477" y="1436209"/>
            <a:ext cx="5447176" cy="3030961"/>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p:cNvGrpSpPr/>
          <p:nvPr userDrawn="1"/>
        </p:nvGrpSpPr>
        <p:grpSpPr>
          <a:xfrm>
            <a:off x="9870766" y="444080"/>
            <a:ext cx="2127249" cy="455612"/>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26" name="Group 25"/>
            <p:cNvGrpSpPr/>
            <p:nvPr userDrawn="1"/>
          </p:nvGrpSpPr>
          <p:grpSpPr>
            <a:xfrm>
              <a:off x="10352088" y="552450"/>
              <a:ext cx="1535112" cy="296862"/>
              <a:chOff x="10352088" y="552450"/>
              <a:chExt cx="1535112" cy="296862"/>
            </a:xfrm>
            <a:solidFill>
              <a:schemeClr val="bg1"/>
            </a:solidFill>
          </p:grpSpPr>
          <p:sp>
            <p:nvSpPr>
              <p:cNvPr id="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2"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9"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30"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42531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terprise Mobility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6" name="Picture 25"/>
          <p:cNvPicPr>
            <a:picLocks noChangeAspect="1"/>
          </p:cNvPicPr>
          <p:nvPr userDrawn="1"/>
        </p:nvPicPr>
        <p:blipFill>
          <a:blip r:embed="rId3"/>
          <a:stretch>
            <a:fillRect/>
          </a:stretch>
        </p:blipFill>
        <p:spPr>
          <a:xfrm>
            <a:off x="9873010" y="-690242"/>
            <a:ext cx="2133131" cy="458258"/>
          </a:xfrm>
          <a:prstGeom prst="rect">
            <a:avLst/>
          </a:prstGeom>
        </p:spPr>
      </p:pic>
      <p:grpSp>
        <p:nvGrpSpPr>
          <p:cNvPr id="9" name="Group 8"/>
          <p:cNvGrpSpPr/>
          <p:nvPr userDrawn="1"/>
        </p:nvGrpSpPr>
        <p:grpSpPr>
          <a:xfrm>
            <a:off x="9870766" y="444080"/>
            <a:ext cx="2127249" cy="455612"/>
            <a:chOff x="9759951" y="481013"/>
            <a:chExt cx="2127249" cy="455612"/>
          </a:xfrm>
        </p:grpSpPr>
        <p:sp>
          <p:nvSpPr>
            <p:cNvPr id="10"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11" name="Group 10"/>
            <p:cNvGrpSpPr/>
            <p:nvPr userDrawn="1"/>
          </p:nvGrpSpPr>
          <p:grpSpPr>
            <a:xfrm>
              <a:off x="10352088" y="552450"/>
              <a:ext cx="1535112" cy="296862"/>
              <a:chOff x="10352088" y="552450"/>
              <a:chExt cx="1535112" cy="296862"/>
            </a:xfrm>
            <a:solidFill>
              <a:schemeClr val="bg1"/>
            </a:solidFill>
          </p:grpSpPr>
          <p:sp>
            <p:nvSpPr>
              <p:cNvPr id="16"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7"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8"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9"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30"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798652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49"/>
            <a:ext cx="12443540" cy="7005033"/>
          </a:xfrm>
          <a:prstGeom prst="rect">
            <a:avLst/>
          </a:prstGeom>
        </p:spPr>
      </p:pic>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2110585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elligent Business Solutions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pic>
        <p:nvPicPr>
          <p:cNvPr id="24" name="Picture 23"/>
          <p:cNvPicPr>
            <a:picLocks noChangeAspect="1"/>
          </p:cNvPicPr>
          <p:nvPr userDrawn="1"/>
        </p:nvPicPr>
        <p:blipFill>
          <a:blip r:embed="rId3"/>
          <a:stretch>
            <a:fillRect/>
          </a:stretch>
        </p:blipFill>
        <p:spPr>
          <a:xfrm>
            <a:off x="9873010" y="443333"/>
            <a:ext cx="2133131" cy="458258"/>
          </a:xfrm>
          <a:prstGeom prst="rect">
            <a:avLst/>
          </a:prstGeom>
        </p:spPr>
      </p:pic>
    </p:spTree>
    <p:extLst>
      <p:ext uri="{BB962C8B-B14F-4D97-AF65-F5344CB8AC3E}">
        <p14:creationId xmlns:p14="http://schemas.microsoft.com/office/powerpoint/2010/main" val="2147084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lthcar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269594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nking &amp;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userDrawn="1"/>
        </p:nvGrpSpPr>
        <p:grpSpPr>
          <a:xfrm>
            <a:off x="9870766" y="444080"/>
            <a:ext cx="2127249" cy="455612"/>
            <a:chOff x="9759951" y="481013"/>
            <a:chExt cx="2127249" cy="455612"/>
          </a:xfrm>
        </p:grpSpPr>
        <p:sp>
          <p:nvSpPr>
            <p:cNvPr id="8"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9" name="Group 8"/>
            <p:cNvGrpSpPr/>
            <p:nvPr userDrawn="1"/>
          </p:nvGrpSpPr>
          <p:grpSpPr>
            <a:xfrm>
              <a:off x="10352088" y="552450"/>
              <a:ext cx="1535112" cy="296862"/>
              <a:chOff x="10352088" y="552450"/>
              <a:chExt cx="1535112" cy="296862"/>
            </a:xfrm>
            <a:solidFill>
              <a:schemeClr val="bg1"/>
            </a:solidFill>
          </p:grpSpPr>
          <p:sp>
            <p:nvSpPr>
              <p:cNvPr id="14"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0"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1"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2"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3"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78283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scret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99652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overnment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2"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242928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etail &amp; CPG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808029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95489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4"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4164733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2"/>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9944413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3"/>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13687145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4"/>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3565379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148400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1"/>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6353728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6"/>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30386209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10772495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21554077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4011986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sub-title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35621160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sub-title_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16706404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sub-title_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542567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Title/sub-title_drak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42002170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3" name="Picture Placeholder 2"/>
          <p:cNvSpPr>
            <a:spLocks noGrp="1"/>
          </p:cNvSpPr>
          <p:nvPr>
            <p:ph type="pic" sz="quarter" idx="11" hasCustomPrompt="1"/>
          </p:nvPr>
        </p:nvSpPr>
        <p:spPr>
          <a:xfrm>
            <a:off x="1964752" y="2291376"/>
            <a:ext cx="1408819" cy="1408620"/>
          </a:xfrm>
        </p:spPr>
        <p:txBody>
          <a:bodyPr/>
          <a:lstStyle>
            <a:lvl1pPr marL="0" indent="0">
              <a:buNone/>
              <a:defRPr/>
            </a:lvl1pPr>
          </a:lstStyle>
          <a:p>
            <a:r>
              <a:rPr lang="en-US"/>
              <a:t>icon</a:t>
            </a:r>
          </a:p>
        </p:txBody>
      </p:sp>
      <p:cxnSp>
        <p:nvCxnSpPr>
          <p:cNvPr id="5" name="Straight Connector 4"/>
          <p:cNvCxnSpPr/>
          <p:nvPr userDrawn="1"/>
        </p:nvCxnSpPr>
        <p:spPr>
          <a:xfrm>
            <a:off x="1200426"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200427" y="4187000"/>
            <a:ext cx="2937469" cy="2300746"/>
          </a:xfrm>
        </p:spPr>
        <p:txBody>
          <a:bodyPr/>
          <a:lstStyle>
            <a:lvl1pPr marL="0" indent="0">
              <a:buNone/>
              <a:defRPr/>
            </a:lvl1pPr>
          </a:lstStyle>
          <a:p>
            <a:pPr lvl="0"/>
            <a:r>
              <a:rPr lang="en-US"/>
              <a:t>Click to edit Master text styles</a:t>
            </a:r>
          </a:p>
        </p:txBody>
      </p:sp>
      <p:sp>
        <p:nvSpPr>
          <p:cNvPr id="11" name="Picture Placeholder 2"/>
          <p:cNvSpPr>
            <a:spLocks noGrp="1"/>
          </p:cNvSpPr>
          <p:nvPr>
            <p:ph type="pic" sz="quarter" idx="13" hasCustomPrompt="1"/>
          </p:nvPr>
        </p:nvSpPr>
        <p:spPr>
          <a:xfrm>
            <a:off x="5568180" y="2291376"/>
            <a:ext cx="1408819" cy="1408620"/>
          </a:xfrm>
        </p:spPr>
        <p:txBody>
          <a:bodyPr/>
          <a:lstStyle>
            <a:lvl1pPr marL="0" indent="0">
              <a:buNone/>
              <a:defRPr/>
            </a:lvl1pPr>
          </a:lstStyle>
          <a:p>
            <a:r>
              <a:rPr lang="en-US"/>
              <a:t>icon</a:t>
            </a:r>
          </a:p>
        </p:txBody>
      </p:sp>
      <p:cxnSp>
        <p:nvCxnSpPr>
          <p:cNvPr id="12" name="Straight Connector 11"/>
          <p:cNvCxnSpPr/>
          <p:nvPr userDrawn="1"/>
        </p:nvCxnSpPr>
        <p:spPr>
          <a:xfrm>
            <a:off x="4804027"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803855" y="4187000"/>
            <a:ext cx="2937469" cy="2300746"/>
          </a:xfrm>
        </p:spPr>
        <p:txBody>
          <a:bodyPr/>
          <a:lstStyle>
            <a:lvl1pPr marL="0" indent="0">
              <a:buNone/>
              <a:defRPr/>
            </a:lvl1pPr>
          </a:lstStyle>
          <a:p>
            <a:pPr lvl="0"/>
            <a:r>
              <a:rPr lang="en-US"/>
              <a:t>Click to edit Master text styles</a:t>
            </a:r>
          </a:p>
        </p:txBody>
      </p:sp>
      <p:sp>
        <p:nvSpPr>
          <p:cNvPr id="14" name="Picture Placeholder 2"/>
          <p:cNvSpPr>
            <a:spLocks noGrp="1"/>
          </p:cNvSpPr>
          <p:nvPr>
            <p:ph type="pic" sz="quarter" idx="15" hasCustomPrompt="1"/>
          </p:nvPr>
        </p:nvSpPr>
        <p:spPr>
          <a:xfrm>
            <a:off x="9171609" y="2291376"/>
            <a:ext cx="1408819" cy="1408620"/>
          </a:xfrm>
        </p:spPr>
        <p:txBody>
          <a:bodyPr/>
          <a:lstStyle>
            <a:lvl1pPr marL="0" indent="0">
              <a:buNone/>
              <a:defRPr/>
            </a:lvl1pPr>
          </a:lstStyle>
          <a:p>
            <a:r>
              <a:rPr lang="en-US"/>
              <a:t>icon</a:t>
            </a:r>
          </a:p>
        </p:txBody>
      </p:sp>
      <p:cxnSp>
        <p:nvCxnSpPr>
          <p:cNvPr id="15" name="Straight Connector 14"/>
          <p:cNvCxnSpPr/>
          <p:nvPr userDrawn="1"/>
        </p:nvCxnSpPr>
        <p:spPr>
          <a:xfrm>
            <a:off x="8407629"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407284" y="4187000"/>
            <a:ext cx="2937469" cy="2300746"/>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7835789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67759"/>
            <a:ext cx="12436475" cy="1688792"/>
          </a:xfrm>
        </p:spPr>
        <p:txBody>
          <a:bodyPr lIns="393192" rIns="182880" bIns="91440">
            <a:normAutofit/>
          </a:bodyPr>
          <a:lstStyle>
            <a:lvl1pPr marL="0" indent="0">
              <a:buNone/>
              <a:defRPr sz="2040">
                <a:solidFill>
                  <a:schemeClr val="tx1"/>
                </a:solidFill>
                <a:latin typeface="+mj-lt"/>
              </a:defRPr>
            </a:lvl1pPr>
            <a:lvl2pPr marL="466298" indent="0">
              <a:buNone/>
              <a:defRPr/>
            </a:lvl2pPr>
          </a:lstStyle>
          <a:p>
            <a:pPr lvl="0"/>
            <a:r>
              <a:rPr lang="en-US"/>
              <a:t>Body text</a:t>
            </a:r>
          </a:p>
        </p:txBody>
      </p:sp>
      <p:sp>
        <p:nvSpPr>
          <p:cNvPr id="4" name="Table Placeholder 3"/>
          <p:cNvSpPr>
            <a:spLocks noGrp="1"/>
          </p:cNvSpPr>
          <p:nvPr>
            <p:ph type="tbl" sz="quarter" idx="12"/>
          </p:nvPr>
        </p:nvSpPr>
        <p:spPr>
          <a:xfrm>
            <a:off x="426676" y="2956483"/>
            <a:ext cx="11559970" cy="4038043"/>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7876506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42546093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4406986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2290566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85568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4771281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19888397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40501731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2935396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894737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3"/>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2766184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4"/>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9569426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744445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1"/>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37509594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tx1">
              <a:lumMod val="75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1651779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81180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54622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0107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1116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42945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14336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9836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5267510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
        <p:nvSpPr>
          <p:cNvPr id="14" name="Text Placeholder 5"/>
          <p:cNvSpPr>
            <a:spLocks noGrp="1"/>
          </p:cNvSpPr>
          <p:nvPr>
            <p:ph type="body" sz="quarter" idx="13"/>
          </p:nvPr>
        </p:nvSpPr>
        <p:spPr>
          <a:xfrm>
            <a:off x="4182737" y="4434826"/>
            <a:ext cx="406295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15" name="Text Placeholder 5"/>
          <p:cNvSpPr>
            <a:spLocks noGrp="1"/>
          </p:cNvSpPr>
          <p:nvPr>
            <p:ph type="body" sz="quarter" idx="16"/>
          </p:nvPr>
        </p:nvSpPr>
        <p:spPr>
          <a:xfrm>
            <a:off x="8269914" y="4434826"/>
            <a:ext cx="4065284"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9" name="Rectangle 8"/>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6"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1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Tree>
    <p:extLst>
      <p:ext uri="{BB962C8B-B14F-4D97-AF65-F5344CB8AC3E}">
        <p14:creationId xmlns:p14="http://schemas.microsoft.com/office/powerpoint/2010/main" val="3854032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7" name="Text Placeholder 7"/>
          <p:cNvSpPr>
            <a:spLocks noGrp="1"/>
          </p:cNvSpPr>
          <p:nvPr>
            <p:ph type="body" sz="quarter" idx="11" hasCustomPrompt="1"/>
          </p:nvPr>
        </p:nvSpPr>
        <p:spPr>
          <a:xfrm>
            <a:off x="1" y="2581882"/>
            <a:ext cx="4183177" cy="1833101"/>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3" name="Text Placeholder 2"/>
          <p:cNvSpPr>
            <a:spLocks noGrp="1"/>
          </p:cNvSpPr>
          <p:nvPr>
            <p:ph type="body" sz="quarter" idx="12" hasCustomPrompt="1"/>
          </p:nvPr>
        </p:nvSpPr>
        <p:spPr>
          <a:xfrm>
            <a:off x="1" y="4414984"/>
            <a:ext cx="4169782" cy="2579541"/>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15177935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4434827"/>
            <a:ext cx="825373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4"/>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350083357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Picture Placeholder 6"/>
          <p:cNvSpPr>
            <a:spLocks noGrp="1"/>
          </p:cNvSpPr>
          <p:nvPr>
            <p:ph type="pic" sz="quarter" idx="13" hasCustomPrompt="1"/>
          </p:nvPr>
        </p:nvSpPr>
        <p:spPr>
          <a:xfrm>
            <a:off x="5307966" y="476912"/>
            <a:ext cx="1399103" cy="1398905"/>
          </a:xfrm>
        </p:spPr>
        <p:txBody>
          <a:bodyPr>
            <a:normAutofit/>
          </a:bodyPr>
          <a:lstStyle>
            <a:lvl1pPr marL="0" indent="0">
              <a:buNone/>
              <a:defRPr sz="1632"/>
            </a:lvl1pPr>
          </a:lstStyle>
          <a:p>
            <a:r>
              <a:rPr lang="en-US"/>
              <a:t>icon</a:t>
            </a:r>
          </a:p>
        </p:txBody>
      </p:sp>
      <p:sp>
        <p:nvSpPr>
          <p:cNvPr id="10" name="Text Placeholder 9"/>
          <p:cNvSpPr>
            <a:spLocks noGrp="1"/>
          </p:cNvSpPr>
          <p:nvPr>
            <p:ph type="body" sz="quarter" idx="14" hasCustomPrompt="1"/>
          </p:nvPr>
        </p:nvSpPr>
        <p:spPr>
          <a:xfrm>
            <a:off x="7154004" y="688256"/>
            <a:ext cx="4872331" cy="976217"/>
          </a:xfrm>
        </p:spPr>
        <p:txBody>
          <a:bodyPr/>
          <a:lstStyle>
            <a:lvl1pPr marL="0" indent="0">
              <a:spcAft>
                <a:spcPts val="0"/>
              </a:spcAft>
              <a:buNone/>
              <a:defRPr>
                <a:solidFill>
                  <a:schemeClr val="tx2"/>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7" name="Picture Placeholder 6"/>
          <p:cNvSpPr>
            <a:spLocks noGrp="1"/>
          </p:cNvSpPr>
          <p:nvPr>
            <p:ph type="pic" sz="quarter" idx="15" hasCustomPrompt="1"/>
          </p:nvPr>
        </p:nvSpPr>
        <p:spPr>
          <a:xfrm>
            <a:off x="5307966" y="2051094"/>
            <a:ext cx="1399103" cy="1398905"/>
          </a:xfrm>
        </p:spPr>
        <p:txBody>
          <a:bodyPr>
            <a:normAutofit/>
          </a:bodyPr>
          <a:lstStyle>
            <a:lvl1pPr marL="0" indent="0">
              <a:buNone/>
              <a:defRPr sz="1632"/>
            </a:lvl1pPr>
          </a:lstStyle>
          <a:p>
            <a:r>
              <a:rPr lang="en-US"/>
              <a:t>icon</a:t>
            </a:r>
          </a:p>
        </p:txBody>
      </p:sp>
      <p:sp>
        <p:nvSpPr>
          <p:cNvPr id="18" name="Text Placeholder 9"/>
          <p:cNvSpPr>
            <a:spLocks noGrp="1"/>
          </p:cNvSpPr>
          <p:nvPr>
            <p:ph type="body" sz="quarter" idx="16" hasCustomPrompt="1"/>
          </p:nvPr>
        </p:nvSpPr>
        <p:spPr>
          <a:xfrm>
            <a:off x="7154004" y="2262438"/>
            <a:ext cx="4872331" cy="976217"/>
          </a:xfrm>
        </p:spPr>
        <p:txBody>
          <a:bodyPr/>
          <a:lstStyle>
            <a:lvl1pPr marL="0" indent="0">
              <a:spcAft>
                <a:spcPts val="0"/>
              </a:spcAft>
              <a:buNone/>
              <a:defRPr>
                <a:solidFill>
                  <a:schemeClr val="accent6">
                    <a:lumMod val="50000"/>
                  </a:schemeClr>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9" name="Picture Placeholder 6"/>
          <p:cNvSpPr>
            <a:spLocks noGrp="1"/>
          </p:cNvSpPr>
          <p:nvPr>
            <p:ph type="pic" sz="quarter" idx="17" hasCustomPrompt="1"/>
          </p:nvPr>
        </p:nvSpPr>
        <p:spPr>
          <a:xfrm>
            <a:off x="5307966" y="3625276"/>
            <a:ext cx="1399103" cy="1398905"/>
          </a:xfrm>
        </p:spPr>
        <p:txBody>
          <a:bodyPr>
            <a:normAutofit/>
          </a:bodyPr>
          <a:lstStyle>
            <a:lvl1pPr marL="0" indent="0">
              <a:buNone/>
              <a:defRPr sz="1632"/>
            </a:lvl1pPr>
          </a:lstStyle>
          <a:p>
            <a:r>
              <a:rPr lang="en-US"/>
              <a:t>icon</a:t>
            </a:r>
          </a:p>
        </p:txBody>
      </p:sp>
      <p:sp>
        <p:nvSpPr>
          <p:cNvPr id="20" name="Text Placeholder 9"/>
          <p:cNvSpPr>
            <a:spLocks noGrp="1"/>
          </p:cNvSpPr>
          <p:nvPr>
            <p:ph type="body" sz="quarter" idx="18" hasCustomPrompt="1"/>
          </p:nvPr>
        </p:nvSpPr>
        <p:spPr>
          <a:xfrm>
            <a:off x="7154004" y="3836620"/>
            <a:ext cx="4872331" cy="976217"/>
          </a:xfrm>
        </p:spPr>
        <p:txBody>
          <a:bodyPr/>
          <a:lstStyle>
            <a:lvl1pPr marL="0" indent="0">
              <a:spcAft>
                <a:spcPts val="0"/>
              </a:spcAft>
              <a:buNone/>
              <a:defRPr>
                <a:solidFill>
                  <a:schemeClr val="accent5"/>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21" name="Picture Placeholder 6"/>
          <p:cNvSpPr>
            <a:spLocks noGrp="1"/>
          </p:cNvSpPr>
          <p:nvPr>
            <p:ph type="pic" sz="quarter" idx="19" hasCustomPrompt="1"/>
          </p:nvPr>
        </p:nvSpPr>
        <p:spPr>
          <a:xfrm>
            <a:off x="5307966" y="5199458"/>
            <a:ext cx="1399103" cy="1398905"/>
          </a:xfrm>
        </p:spPr>
        <p:txBody>
          <a:bodyPr>
            <a:normAutofit/>
          </a:bodyPr>
          <a:lstStyle>
            <a:lvl1pPr marL="0" indent="0">
              <a:buNone/>
              <a:defRPr sz="1632"/>
            </a:lvl1pPr>
          </a:lstStyle>
          <a:p>
            <a:r>
              <a:rPr lang="en-US"/>
              <a:t>icon</a:t>
            </a:r>
          </a:p>
        </p:txBody>
      </p:sp>
      <p:sp>
        <p:nvSpPr>
          <p:cNvPr id="22" name="Text Placeholder 9"/>
          <p:cNvSpPr>
            <a:spLocks noGrp="1"/>
          </p:cNvSpPr>
          <p:nvPr>
            <p:ph type="body" sz="quarter" idx="20" hasCustomPrompt="1"/>
          </p:nvPr>
        </p:nvSpPr>
        <p:spPr>
          <a:xfrm>
            <a:off x="7154004" y="5410802"/>
            <a:ext cx="4872331" cy="976217"/>
          </a:xfrm>
        </p:spPr>
        <p:txBody>
          <a:bodyPr/>
          <a:lstStyle>
            <a:lvl1pPr marL="0" indent="0">
              <a:spcAft>
                <a:spcPts val="0"/>
              </a:spcAft>
              <a:buNone/>
              <a:defRPr>
                <a:solidFill>
                  <a:schemeClr val="accent6"/>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Tree>
    <p:extLst>
      <p:ext uri="{BB962C8B-B14F-4D97-AF65-F5344CB8AC3E}">
        <p14:creationId xmlns:p14="http://schemas.microsoft.com/office/powerpoint/2010/main" val="34608289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30617077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1" y="1"/>
            <a:ext cx="4183177" cy="3502222"/>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8" name="Text Placeholder 2"/>
          <p:cNvSpPr>
            <a:spLocks noGrp="1"/>
          </p:cNvSpPr>
          <p:nvPr>
            <p:ph type="body" sz="quarter" idx="12" hasCustomPrompt="1"/>
          </p:nvPr>
        </p:nvSpPr>
        <p:spPr>
          <a:xfrm>
            <a:off x="1" y="3502223"/>
            <a:ext cx="4169782" cy="349230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12374614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9307474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4450940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5692059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7964389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83280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52083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98556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20477461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4848772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786502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78045068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2034473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8134635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20853628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98935717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5199153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3199697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2.xml"/><Relationship Id="rId21" Type="http://schemas.openxmlformats.org/officeDocument/2006/relationships/slideLayout" Target="../slideLayouts/slideLayout47.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63" Type="http://schemas.openxmlformats.org/officeDocument/2006/relationships/slideLayout" Target="../slideLayouts/slideLayout89.xml"/><Relationship Id="rId68" Type="http://schemas.openxmlformats.org/officeDocument/2006/relationships/slideLayout" Target="../slideLayouts/slideLayout94.xml"/><Relationship Id="rId84" Type="http://schemas.openxmlformats.org/officeDocument/2006/relationships/slideLayout" Target="../slideLayouts/slideLayout110.xml"/><Relationship Id="rId89" Type="http://schemas.openxmlformats.org/officeDocument/2006/relationships/slideLayout" Target="../slideLayouts/slideLayout115.xml"/><Relationship Id="rId16" Type="http://schemas.openxmlformats.org/officeDocument/2006/relationships/slideLayout" Target="../slideLayouts/slideLayout42.xml"/><Relationship Id="rId11" Type="http://schemas.openxmlformats.org/officeDocument/2006/relationships/slideLayout" Target="../slideLayouts/slideLayout37.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74" Type="http://schemas.openxmlformats.org/officeDocument/2006/relationships/slideLayout" Target="../slideLayouts/slideLayout100.xml"/><Relationship Id="rId79" Type="http://schemas.openxmlformats.org/officeDocument/2006/relationships/slideLayout" Target="../slideLayouts/slideLayout105.xml"/><Relationship Id="rId5" Type="http://schemas.openxmlformats.org/officeDocument/2006/relationships/slideLayout" Target="../slideLayouts/slideLayout31.xml"/><Relationship Id="rId90" Type="http://schemas.openxmlformats.org/officeDocument/2006/relationships/theme" Target="../theme/theme2.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64" Type="http://schemas.openxmlformats.org/officeDocument/2006/relationships/slideLayout" Target="../slideLayouts/slideLayout90.xml"/><Relationship Id="rId69" Type="http://schemas.openxmlformats.org/officeDocument/2006/relationships/slideLayout" Target="../slideLayouts/slideLayout95.xml"/><Relationship Id="rId77" Type="http://schemas.openxmlformats.org/officeDocument/2006/relationships/slideLayout" Target="../slideLayouts/slideLayout103.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72" Type="http://schemas.openxmlformats.org/officeDocument/2006/relationships/slideLayout" Target="../slideLayouts/slideLayout98.xml"/><Relationship Id="rId80" Type="http://schemas.openxmlformats.org/officeDocument/2006/relationships/slideLayout" Target="../slideLayouts/slideLayout106.xml"/><Relationship Id="rId85" Type="http://schemas.openxmlformats.org/officeDocument/2006/relationships/slideLayout" Target="../slideLayouts/slideLayout111.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 Id="rId67" Type="http://schemas.openxmlformats.org/officeDocument/2006/relationships/slideLayout" Target="../slideLayouts/slideLayout93.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slideLayout" Target="../slideLayouts/slideLayout88.xml"/><Relationship Id="rId70" Type="http://schemas.openxmlformats.org/officeDocument/2006/relationships/slideLayout" Target="../slideLayouts/slideLayout96.xml"/><Relationship Id="rId75" Type="http://schemas.openxmlformats.org/officeDocument/2006/relationships/slideLayout" Target="../slideLayouts/slideLayout101.xml"/><Relationship Id="rId83" Type="http://schemas.openxmlformats.org/officeDocument/2006/relationships/slideLayout" Target="../slideLayouts/slideLayout109.xml"/><Relationship Id="rId88" Type="http://schemas.openxmlformats.org/officeDocument/2006/relationships/slideLayout" Target="../slideLayouts/slideLayout114.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10" Type="http://schemas.openxmlformats.org/officeDocument/2006/relationships/slideLayout" Target="../slideLayouts/slideLayout36.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65" Type="http://schemas.openxmlformats.org/officeDocument/2006/relationships/slideLayout" Target="../slideLayouts/slideLayout91.xml"/><Relationship Id="rId73" Type="http://schemas.openxmlformats.org/officeDocument/2006/relationships/slideLayout" Target="../slideLayouts/slideLayout99.xml"/><Relationship Id="rId78" Type="http://schemas.openxmlformats.org/officeDocument/2006/relationships/slideLayout" Target="../slideLayouts/slideLayout104.xml"/><Relationship Id="rId81" Type="http://schemas.openxmlformats.org/officeDocument/2006/relationships/slideLayout" Target="../slideLayouts/slideLayout107.xml"/><Relationship Id="rId86" Type="http://schemas.openxmlformats.org/officeDocument/2006/relationships/slideLayout" Target="../slideLayouts/slideLayout11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9" Type="http://schemas.openxmlformats.org/officeDocument/2006/relationships/slideLayout" Target="../slideLayouts/slideLayout65.xml"/><Relationship Id="rId34" Type="http://schemas.openxmlformats.org/officeDocument/2006/relationships/slideLayout" Target="../slideLayouts/slideLayout60.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76" Type="http://schemas.openxmlformats.org/officeDocument/2006/relationships/slideLayout" Target="../slideLayouts/slideLayout102.xml"/><Relationship Id="rId7" Type="http://schemas.openxmlformats.org/officeDocument/2006/relationships/slideLayout" Target="../slideLayouts/slideLayout33.xml"/><Relationship Id="rId71" Type="http://schemas.openxmlformats.org/officeDocument/2006/relationships/slideLayout" Target="../slideLayouts/slideLayout97.xml"/><Relationship Id="rId2" Type="http://schemas.openxmlformats.org/officeDocument/2006/relationships/slideLayout" Target="../slideLayouts/slideLayout28.xml"/><Relationship Id="rId29" Type="http://schemas.openxmlformats.org/officeDocument/2006/relationships/slideLayout" Target="../slideLayouts/slideLayout55.xml"/><Relationship Id="rId24" Type="http://schemas.openxmlformats.org/officeDocument/2006/relationships/slideLayout" Target="../slideLayouts/slideLayout50.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66" Type="http://schemas.openxmlformats.org/officeDocument/2006/relationships/slideLayout" Target="../slideLayouts/slideLayout92.xml"/><Relationship Id="rId87" Type="http://schemas.openxmlformats.org/officeDocument/2006/relationships/slideLayout" Target="../slideLayouts/slideLayout113.xml"/><Relationship Id="rId61" Type="http://schemas.openxmlformats.org/officeDocument/2006/relationships/slideLayout" Target="../slideLayouts/slideLayout87.xml"/><Relationship Id="rId82" Type="http://schemas.openxmlformats.org/officeDocument/2006/relationships/slideLayout" Target="../slideLayouts/slideLayout108.xml"/><Relationship Id="rId19"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image" Target="../media/image2.emf"/><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theme" Target="../theme/theme3.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theme" Target="../theme/theme4.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7.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theme" Target="../theme/theme5.xml"/><Relationship Id="rId5" Type="http://schemas.openxmlformats.org/officeDocument/2006/relationships/slideLayout" Target="../slideLayouts/slideLayout154.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image" Target="../media/image2.emf"/><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theme" Target="../theme/theme7.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image" Target="../media/image42.emf"/><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theme" Target="../theme/theme8.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image" Target="../media/image42.emf"/><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8"/>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67" r:id="rId3"/>
    <p:sldLayoutId id="2147483884" r:id="rId4"/>
    <p:sldLayoutId id="2147483868" r:id="rId5"/>
    <p:sldLayoutId id="2147483869" r:id="rId6"/>
    <p:sldLayoutId id="2147483885" r:id="rId7"/>
    <p:sldLayoutId id="2147483871" r:id="rId8"/>
    <p:sldLayoutId id="2147483886" r:id="rId9"/>
    <p:sldLayoutId id="2147483887" r:id="rId10"/>
    <p:sldLayoutId id="2147483888" r:id="rId11"/>
    <p:sldLayoutId id="2147483889" r:id="rId12"/>
    <p:sldLayoutId id="2147483893" r:id="rId13"/>
    <p:sldLayoutId id="2147483873" r:id="rId14"/>
    <p:sldLayoutId id="2147483890" r:id="rId15"/>
    <p:sldLayoutId id="2147483891" r:id="rId16"/>
    <p:sldLayoutId id="2147483878" r:id="rId17"/>
    <p:sldLayoutId id="2147483892" r:id="rId18"/>
    <p:sldLayoutId id="2147483879" r:id="rId19"/>
    <p:sldLayoutId id="2147483880" r:id="rId20"/>
    <p:sldLayoutId id="2147483881" r:id="rId21"/>
    <p:sldLayoutId id="2147483883" r:id="rId22"/>
    <p:sldLayoutId id="2147483882" r:id="rId23"/>
    <p:sldLayoutId id="2147483990" r:id="rId24"/>
    <p:sldLayoutId id="2147484107" r:id="rId25"/>
    <p:sldLayoutId id="2147484130" r:id="rId26"/>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3/20/19</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388726528"/>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 id="2147483927" r:id="rId28"/>
    <p:sldLayoutId id="2147483928" r:id="rId29"/>
    <p:sldLayoutId id="2147483929" r:id="rId30"/>
    <p:sldLayoutId id="2147483930" r:id="rId31"/>
    <p:sldLayoutId id="2147483931" r:id="rId32"/>
    <p:sldLayoutId id="2147483932" r:id="rId33"/>
    <p:sldLayoutId id="2147483933" r:id="rId34"/>
    <p:sldLayoutId id="2147483934" r:id="rId35"/>
    <p:sldLayoutId id="2147483935" r:id="rId36"/>
    <p:sldLayoutId id="2147483936" r:id="rId37"/>
    <p:sldLayoutId id="2147483937" r:id="rId38"/>
    <p:sldLayoutId id="2147483938" r:id="rId39"/>
    <p:sldLayoutId id="2147483939" r:id="rId40"/>
    <p:sldLayoutId id="2147483940" r:id="rId41"/>
    <p:sldLayoutId id="2147483941" r:id="rId42"/>
    <p:sldLayoutId id="2147483942" r:id="rId43"/>
    <p:sldLayoutId id="2147483943" r:id="rId44"/>
    <p:sldLayoutId id="2147483944" r:id="rId45"/>
    <p:sldLayoutId id="2147483945" r:id="rId46"/>
    <p:sldLayoutId id="2147483946" r:id="rId47"/>
    <p:sldLayoutId id="2147483947" r:id="rId48"/>
    <p:sldLayoutId id="2147483948" r:id="rId49"/>
    <p:sldLayoutId id="2147483949" r:id="rId50"/>
    <p:sldLayoutId id="2147483950" r:id="rId51"/>
    <p:sldLayoutId id="2147483951" r:id="rId52"/>
    <p:sldLayoutId id="2147483952" r:id="rId53"/>
    <p:sldLayoutId id="2147483953" r:id="rId54"/>
    <p:sldLayoutId id="2147483954" r:id="rId55"/>
    <p:sldLayoutId id="2147483955" r:id="rId56"/>
    <p:sldLayoutId id="2147483956" r:id="rId57"/>
    <p:sldLayoutId id="2147483957" r:id="rId58"/>
    <p:sldLayoutId id="2147483958" r:id="rId59"/>
    <p:sldLayoutId id="2147483959" r:id="rId60"/>
    <p:sldLayoutId id="2147483960" r:id="rId61"/>
    <p:sldLayoutId id="2147483961" r:id="rId62"/>
    <p:sldLayoutId id="2147483962" r:id="rId63"/>
    <p:sldLayoutId id="2147483963" r:id="rId64"/>
    <p:sldLayoutId id="2147483964" r:id="rId65"/>
    <p:sldLayoutId id="2147483965" r:id="rId66"/>
    <p:sldLayoutId id="2147483966" r:id="rId67"/>
    <p:sldLayoutId id="2147483967" r:id="rId68"/>
    <p:sldLayoutId id="2147483968" r:id="rId69"/>
    <p:sldLayoutId id="2147483969" r:id="rId70"/>
    <p:sldLayoutId id="2147483970" r:id="rId71"/>
    <p:sldLayoutId id="2147483971" r:id="rId72"/>
    <p:sldLayoutId id="2147483972" r:id="rId73"/>
    <p:sldLayoutId id="2147483973" r:id="rId74"/>
    <p:sldLayoutId id="2147483974" r:id="rId75"/>
    <p:sldLayoutId id="2147483975" r:id="rId76"/>
    <p:sldLayoutId id="2147483976" r:id="rId77"/>
    <p:sldLayoutId id="2147483977" r:id="rId78"/>
    <p:sldLayoutId id="2147483978" r:id="rId79"/>
    <p:sldLayoutId id="2147483979" r:id="rId80"/>
    <p:sldLayoutId id="2147483980" r:id="rId81"/>
    <p:sldLayoutId id="2147483981" r:id="rId82"/>
    <p:sldLayoutId id="2147483982" r:id="rId83"/>
    <p:sldLayoutId id="2147483983" r:id="rId84"/>
    <p:sldLayoutId id="2147483984" r:id="rId85"/>
    <p:sldLayoutId id="2147483986" r:id="rId86"/>
    <p:sldLayoutId id="2147483987" r:id="rId87"/>
    <p:sldLayoutId id="2147483988" r:id="rId88"/>
    <p:sldLayoutId id="2147483989" r:id="rId89"/>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110000"/>
        </a:lnSpc>
        <a:spcBef>
          <a:spcPts val="1020"/>
        </a:spcBef>
        <a:spcAft>
          <a:spcPts val="612"/>
        </a:spcAft>
        <a:buFont typeface="Arial" panose="020B0604020202020204" pitchFamily="34" charset="0"/>
        <a:buChar char="•"/>
        <a:defRPr sz="2856" kern="1200">
          <a:solidFill>
            <a:schemeClr val="tx1"/>
          </a:solidFill>
          <a:latin typeface="+mj-lt"/>
          <a:ea typeface="+mn-ea"/>
          <a:cs typeface="+mn-cs"/>
        </a:defRPr>
      </a:lvl1pPr>
      <a:lvl2pPr marL="699447" indent="-233149" algn="l" defTabSz="932597" rtl="0" eaLnBrk="1" latinLnBrk="0" hangingPunct="1">
        <a:lnSpc>
          <a:spcPct val="110000"/>
        </a:lnSpc>
        <a:spcBef>
          <a:spcPts val="510"/>
        </a:spcBef>
        <a:spcAft>
          <a:spcPts val="612"/>
        </a:spcAft>
        <a:buFont typeface="Arial" panose="020B0604020202020204" pitchFamily="34" charset="0"/>
        <a:buChar char="•"/>
        <a:defRPr sz="2448" kern="1200">
          <a:solidFill>
            <a:schemeClr val="tx1"/>
          </a:solidFill>
          <a:latin typeface="+mj-lt"/>
          <a:ea typeface="+mn-ea"/>
          <a:cs typeface="+mn-cs"/>
        </a:defRPr>
      </a:lvl2pPr>
      <a:lvl3pPr marL="1165746" indent="-233149" algn="l" defTabSz="932597" rtl="0" eaLnBrk="1" latinLnBrk="0" hangingPunct="1">
        <a:lnSpc>
          <a:spcPct val="110000"/>
        </a:lnSpc>
        <a:spcBef>
          <a:spcPts val="510"/>
        </a:spcBef>
        <a:spcAft>
          <a:spcPts val="612"/>
        </a:spcAft>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20650922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8334779"/>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6860094"/>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40" r:id="rId1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19842823"/>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 id="214748406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3F9026A7-2EC9-914F-85F9-2DE9A6D68657}" type="datetimeFigureOut">
              <a:rPr lang="en-US" smtClean="0"/>
              <a:t>3/20/19</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182CFD53-CDA8-4E46-ACB7-896B7E9110D1}" type="slidenum">
              <a:rPr lang="en-US" smtClean="0"/>
              <a:t>‹#›</a:t>
            </a:fld>
            <a:endParaRPr lang="en-US"/>
          </a:p>
        </p:txBody>
      </p:sp>
    </p:spTree>
    <p:extLst>
      <p:ext uri="{BB962C8B-B14F-4D97-AF65-F5344CB8AC3E}">
        <p14:creationId xmlns:p14="http://schemas.microsoft.com/office/powerpoint/2010/main" val="2377020378"/>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 id="2147484076" r:id="rId13"/>
    <p:sldLayoutId id="2147484077" r:id="rId14"/>
    <p:sldLayoutId id="2147484078" r:id="rId15"/>
    <p:sldLayoutId id="2147484079" r:id="rId16"/>
    <p:sldLayoutId id="2147484080" r:id="rId17"/>
    <p:sldLayoutId id="2147484081" r:id="rId18"/>
    <p:sldLayoutId id="2147484082" r:id="rId19"/>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3104521"/>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 id="2147484102" r:id="rId19"/>
    <p:sldLayoutId id="2147484103" r:id="rId20"/>
    <p:sldLayoutId id="2147484104" r:id="rId21"/>
    <p:sldLayoutId id="2147484105" r:id="rId22"/>
    <p:sldLayoutId id="2147484106" r:id="rId23"/>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46462577"/>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 id="2147484120" r:id="rId12"/>
    <p:sldLayoutId id="2147484121" r:id="rId13"/>
    <p:sldLayoutId id="2147484122" r:id="rId14"/>
    <p:sldLayoutId id="2147484123" r:id="rId15"/>
    <p:sldLayoutId id="2147484124" r:id="rId16"/>
    <p:sldLayoutId id="2147484125" r:id="rId17"/>
    <p:sldLayoutId id="2147484126" r:id="rId18"/>
    <p:sldLayoutId id="2147484127" r:id="rId19"/>
    <p:sldLayoutId id="2147484128" r:id="rId20"/>
    <p:sldLayoutId id="2147484129" r:id="rId21"/>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66.png"/><Relationship Id="rId7" Type="http://schemas.openxmlformats.org/officeDocument/2006/relationships/image" Target="../media/image68.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67.svg"/></Relationships>
</file>

<file path=ppt/slides/_rels/slide11.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5.jpeg"/><Relationship Id="rId7" Type="http://schemas.openxmlformats.org/officeDocument/2006/relationships/image" Target="../media/image78.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68.png"/><Relationship Id="rId9" Type="http://schemas.openxmlformats.org/officeDocument/2006/relationships/image" Target="../media/image80.png"/></Relationships>
</file>

<file path=ppt/slides/_rels/slide12.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68.png"/></Relationships>
</file>

<file path=ppt/slides/_rels/slide13.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0.sv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85.png"/><Relationship Id="rId11" Type="http://schemas.openxmlformats.org/officeDocument/2006/relationships/image" Target="../media/image89.png"/><Relationship Id="rId5" Type="http://schemas.openxmlformats.org/officeDocument/2006/relationships/image" Target="../media/image84.svg"/><Relationship Id="rId10" Type="http://schemas.openxmlformats.org/officeDocument/2006/relationships/image" Target="../media/image68.png"/><Relationship Id="rId4" Type="http://schemas.openxmlformats.org/officeDocument/2006/relationships/image" Target="../media/image83.png"/><Relationship Id="rId9" Type="http://schemas.openxmlformats.org/officeDocument/2006/relationships/image" Target="../media/image88.png"/></Relationships>
</file>

<file path=ppt/slides/_rels/slide14.xml.rels><?xml version="1.0" encoding="UTF-8" standalone="yes"?>
<Relationships xmlns="http://schemas.openxmlformats.org/package/2006/relationships"><Relationship Id="rId8" Type="http://schemas.openxmlformats.org/officeDocument/2006/relationships/image" Target="../media/image94.emf"/><Relationship Id="rId3" Type="http://schemas.openxmlformats.org/officeDocument/2006/relationships/image" Target="../media/image91.jpeg"/><Relationship Id="rId7" Type="http://schemas.openxmlformats.org/officeDocument/2006/relationships/image" Target="../media/image67.sv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66.png"/><Relationship Id="rId11" Type="http://schemas.openxmlformats.org/officeDocument/2006/relationships/image" Target="../media/image68.png"/><Relationship Id="rId5" Type="http://schemas.openxmlformats.org/officeDocument/2006/relationships/image" Target="../media/image93.svg"/><Relationship Id="rId10" Type="http://schemas.openxmlformats.org/officeDocument/2006/relationships/image" Target="../media/image96.emf"/><Relationship Id="rId4" Type="http://schemas.openxmlformats.org/officeDocument/2006/relationships/image" Target="../media/image92.png"/><Relationship Id="rId9" Type="http://schemas.openxmlformats.org/officeDocument/2006/relationships/image" Target="../media/image95.emf"/></Relationships>
</file>

<file path=ppt/slides/_rels/slide15.xml.rels><?xml version="1.0" encoding="UTF-8" standalone="yes"?>
<Relationships xmlns="http://schemas.openxmlformats.org/package/2006/relationships"><Relationship Id="rId3" Type="http://schemas.openxmlformats.org/officeDocument/2006/relationships/image" Target="../media/image97.jpeg"/><Relationship Id="rId7" Type="http://schemas.openxmlformats.org/officeDocument/2006/relationships/image" Target="../media/image68.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98.png"/><Relationship Id="rId5" Type="http://schemas.openxmlformats.org/officeDocument/2006/relationships/image" Target="../media/image87.svg"/><Relationship Id="rId4" Type="http://schemas.openxmlformats.org/officeDocument/2006/relationships/image" Target="../media/image8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1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15.xml"/><Relationship Id="rId1" Type="http://schemas.openxmlformats.org/officeDocument/2006/relationships/slideLayout" Target="../slideLayouts/slideLayout148.xml"/></Relationships>
</file>

<file path=ppt/slides/_rels/slide1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16.xml"/><Relationship Id="rId1" Type="http://schemas.openxmlformats.org/officeDocument/2006/relationships/slideLayout" Target="../slideLayouts/slideLayout144.xml"/><Relationship Id="rId6" Type="http://schemas.openxmlformats.org/officeDocument/2006/relationships/image" Target="../media/image103.png"/><Relationship Id="rId5" Type="http://schemas.openxmlformats.org/officeDocument/2006/relationships/image" Target="../media/image102.emf"/><Relationship Id="rId4" Type="http://schemas.openxmlformats.org/officeDocument/2006/relationships/image" Target="../media/image101.png"/></Relationships>
</file>

<file path=ppt/slides/_rels/slide19.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17.xml"/><Relationship Id="rId1" Type="http://schemas.openxmlformats.org/officeDocument/2006/relationships/slideLayout" Target="../slideLayouts/slideLayout144.xml"/><Relationship Id="rId4" Type="http://schemas.openxmlformats.org/officeDocument/2006/relationships/image" Target="../media/image10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8.xml"/></Relationships>
</file>

<file path=ppt/slides/_rels/slide20.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17.png"/><Relationship Id="rId18" Type="http://schemas.openxmlformats.org/officeDocument/2006/relationships/image" Target="../media/image122.svg"/><Relationship Id="rId26" Type="http://schemas.openxmlformats.org/officeDocument/2006/relationships/image" Target="../media/image130.svg"/><Relationship Id="rId3" Type="http://schemas.openxmlformats.org/officeDocument/2006/relationships/image" Target="../media/image107.png"/><Relationship Id="rId21" Type="http://schemas.openxmlformats.org/officeDocument/2006/relationships/image" Target="../media/image125.png"/><Relationship Id="rId7" Type="http://schemas.openxmlformats.org/officeDocument/2006/relationships/image" Target="../media/image111.png"/><Relationship Id="rId12" Type="http://schemas.openxmlformats.org/officeDocument/2006/relationships/image" Target="../media/image116.svg"/><Relationship Id="rId17" Type="http://schemas.openxmlformats.org/officeDocument/2006/relationships/image" Target="../media/image121.png"/><Relationship Id="rId25" Type="http://schemas.openxmlformats.org/officeDocument/2006/relationships/image" Target="../media/image129.png"/><Relationship Id="rId2" Type="http://schemas.openxmlformats.org/officeDocument/2006/relationships/image" Target="../media/image106.png"/><Relationship Id="rId16" Type="http://schemas.openxmlformats.org/officeDocument/2006/relationships/image" Target="../media/image120.png"/><Relationship Id="rId20" Type="http://schemas.openxmlformats.org/officeDocument/2006/relationships/image" Target="../media/image124.svg"/><Relationship Id="rId1" Type="http://schemas.openxmlformats.org/officeDocument/2006/relationships/slideLayout" Target="../slideLayouts/slideLayout229.xml"/><Relationship Id="rId6" Type="http://schemas.openxmlformats.org/officeDocument/2006/relationships/image" Target="../media/image110.svg"/><Relationship Id="rId11" Type="http://schemas.openxmlformats.org/officeDocument/2006/relationships/image" Target="../media/image115.png"/><Relationship Id="rId24" Type="http://schemas.openxmlformats.org/officeDocument/2006/relationships/image" Target="../media/image128.svg"/><Relationship Id="rId5" Type="http://schemas.openxmlformats.org/officeDocument/2006/relationships/image" Target="../media/image109.png"/><Relationship Id="rId15" Type="http://schemas.openxmlformats.org/officeDocument/2006/relationships/image" Target="../media/image119.png"/><Relationship Id="rId23" Type="http://schemas.openxmlformats.org/officeDocument/2006/relationships/image" Target="../media/image127.png"/><Relationship Id="rId28" Type="http://schemas.openxmlformats.org/officeDocument/2006/relationships/image" Target="../media/image132.svg"/><Relationship Id="rId10" Type="http://schemas.openxmlformats.org/officeDocument/2006/relationships/image" Target="../media/image114.svg"/><Relationship Id="rId19" Type="http://schemas.openxmlformats.org/officeDocument/2006/relationships/image" Target="../media/image123.png"/><Relationship Id="rId4" Type="http://schemas.openxmlformats.org/officeDocument/2006/relationships/image" Target="../media/image108.svg"/><Relationship Id="rId9" Type="http://schemas.openxmlformats.org/officeDocument/2006/relationships/image" Target="../media/image113.png"/><Relationship Id="rId14" Type="http://schemas.openxmlformats.org/officeDocument/2006/relationships/image" Target="../media/image118.svg"/><Relationship Id="rId22" Type="http://schemas.openxmlformats.org/officeDocument/2006/relationships/image" Target="../media/image126.svg"/><Relationship Id="rId27" Type="http://schemas.openxmlformats.org/officeDocument/2006/relationships/image" Target="../media/image131.png"/></Relationships>
</file>

<file path=ppt/slides/_rels/slide21.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18.xml"/><Relationship Id="rId1" Type="http://schemas.openxmlformats.org/officeDocument/2006/relationships/slideLayout" Target="../slideLayouts/slideLayout229.xml"/><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50.png"/><Relationship Id="rId3" Type="http://schemas.openxmlformats.org/officeDocument/2006/relationships/image" Target="../media/image141.png"/><Relationship Id="rId7" Type="http://schemas.openxmlformats.org/officeDocument/2006/relationships/image" Target="../media/image144.png"/><Relationship Id="rId12" Type="http://schemas.openxmlformats.org/officeDocument/2006/relationships/image" Target="../media/image149.png"/><Relationship Id="rId2" Type="http://schemas.openxmlformats.org/officeDocument/2006/relationships/notesSlide" Target="../notesSlides/notesSlide20.xml"/><Relationship Id="rId1" Type="http://schemas.openxmlformats.org/officeDocument/2006/relationships/slideLayout" Target="../slideLayouts/slideLayout138.xml"/><Relationship Id="rId6" Type="http://schemas.openxmlformats.org/officeDocument/2006/relationships/image" Target="../media/image143.emf"/><Relationship Id="rId11" Type="http://schemas.openxmlformats.org/officeDocument/2006/relationships/image" Target="../media/image148.svg"/><Relationship Id="rId5" Type="http://schemas.openxmlformats.org/officeDocument/2006/relationships/image" Target="../media/image85.png"/><Relationship Id="rId15" Type="http://schemas.openxmlformats.org/officeDocument/2006/relationships/image" Target="../media/image152.png"/><Relationship Id="rId10" Type="http://schemas.openxmlformats.org/officeDocument/2006/relationships/image" Target="../media/image147.png"/><Relationship Id="rId4" Type="http://schemas.openxmlformats.org/officeDocument/2006/relationships/image" Target="../media/image142.png"/><Relationship Id="rId9" Type="http://schemas.openxmlformats.org/officeDocument/2006/relationships/image" Target="../media/image146.png"/><Relationship Id="rId14" Type="http://schemas.openxmlformats.org/officeDocument/2006/relationships/image" Target="../media/image15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8.xml"/></Relationships>
</file>

<file path=ppt/slides/_rels/slide2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2.xml"/><Relationship Id="rId1" Type="http://schemas.openxmlformats.org/officeDocument/2006/relationships/slideLayout" Target="../slideLayouts/slideLayout138.xml"/></Relationships>
</file>

<file path=ppt/slides/_rels/slide26.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notesSlide" Target="../notesSlides/notesSlide23.xml"/><Relationship Id="rId1" Type="http://schemas.openxmlformats.org/officeDocument/2006/relationships/slideLayout" Target="../slideLayouts/slideLayout129.xml"/><Relationship Id="rId6" Type="http://schemas.openxmlformats.org/officeDocument/2006/relationships/image" Target="../media/image157.png"/><Relationship Id="rId11" Type="http://schemas.openxmlformats.org/officeDocument/2006/relationships/image" Target="../media/image162.png"/><Relationship Id="rId5" Type="http://schemas.openxmlformats.org/officeDocument/2006/relationships/image" Target="../media/image156.png"/><Relationship Id="rId10" Type="http://schemas.openxmlformats.org/officeDocument/2006/relationships/image" Target="../media/image161.png"/><Relationship Id="rId4" Type="http://schemas.openxmlformats.org/officeDocument/2006/relationships/image" Target="../media/image155.png"/><Relationship Id="rId9" Type="http://schemas.openxmlformats.org/officeDocument/2006/relationships/image" Target="../media/image16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4.xml"/><Relationship Id="rId1" Type="http://schemas.openxmlformats.org/officeDocument/2006/relationships/slideLayout" Target="../slideLayouts/slideLayout24.xml"/><Relationship Id="rId5" Type="http://schemas.openxmlformats.org/officeDocument/2006/relationships/image" Target="../media/image56.emf"/><Relationship Id="rId4" Type="http://schemas.openxmlformats.org/officeDocument/2006/relationships/image" Target="../media/image55.png"/></Relationships>
</file>

<file path=ppt/slides/_rels/slide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24.xml"/><Relationship Id="rId4" Type="http://schemas.openxmlformats.org/officeDocument/2006/relationships/image" Target="../media/image56.emf"/></Relationships>
</file>

<file path=ppt/slides/_rels/slide8.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hyperlink" Target="https://azure.microsoft.com/en-us/services/event-grid/" TargetMode="External"/><Relationship Id="rId3" Type="http://schemas.openxmlformats.org/officeDocument/2006/relationships/image" Target="../media/image58.png"/><Relationship Id="rId7" Type="http://schemas.openxmlformats.org/officeDocument/2006/relationships/hyperlink" Target="https://azure.microsoft.com/en-us/services/storage/?v=16.50" TargetMode="External"/><Relationship Id="rId12" Type="http://schemas.openxmlformats.org/officeDocument/2006/relationships/image" Target="../media/image62.png"/><Relationship Id="rId17" Type="http://schemas.openxmlformats.org/officeDocument/2006/relationships/image" Target="../media/image65.png"/><Relationship Id="rId2" Type="http://schemas.openxmlformats.org/officeDocument/2006/relationships/notesSlide" Target="../notesSlides/notesSlide7.xml"/><Relationship Id="rId16" Type="http://schemas.openxmlformats.org/officeDocument/2006/relationships/image" Target="../media/image64.png"/><Relationship Id="rId1" Type="http://schemas.openxmlformats.org/officeDocument/2006/relationships/slideLayout" Target="../slideLayouts/slideLayout24.xml"/><Relationship Id="rId6" Type="http://schemas.microsoft.com/office/2007/relationships/hdphoto" Target="../media/hdphoto1.wdp"/><Relationship Id="rId11" Type="http://schemas.openxmlformats.org/officeDocument/2006/relationships/hyperlink" Target="https://azure.microsoft.com/en-us/services/stream-analytics/" TargetMode="External"/><Relationship Id="rId5" Type="http://schemas.openxmlformats.org/officeDocument/2006/relationships/image" Target="../media/image59.png"/><Relationship Id="rId15" Type="http://schemas.openxmlformats.org/officeDocument/2006/relationships/hyperlink" Target="https://azure.microsoft.com/en-us/services/active-directory/" TargetMode="External"/><Relationship Id="rId10" Type="http://schemas.openxmlformats.org/officeDocument/2006/relationships/image" Target="../media/image61.png"/><Relationship Id="rId4" Type="http://schemas.openxmlformats.org/officeDocument/2006/relationships/hyperlink" Target="https://azure.microsoft.com/en-us/services/cosmos-db/" TargetMode="External"/><Relationship Id="rId9" Type="http://schemas.openxmlformats.org/officeDocument/2006/relationships/hyperlink" Target="https://azure.microsoft.com/en-us/services/bot-service/" TargetMode="External"/><Relationship Id="rId14" Type="http://schemas.openxmlformats.org/officeDocument/2006/relationships/image" Target="../media/image63.png"/></Relationships>
</file>

<file path=ppt/slides/_rels/slide9.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66.png"/><Relationship Id="rId7" Type="http://schemas.openxmlformats.org/officeDocument/2006/relationships/image" Target="../media/image70.sv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304928-0F5A-4725-A164-3CEEC03A4BE0}"/>
              </a:ext>
            </a:extLst>
          </p:cNvPr>
          <p:cNvSpPr txBox="1"/>
          <p:nvPr/>
        </p:nvSpPr>
        <p:spPr>
          <a:xfrm>
            <a:off x="5017022" y="4514628"/>
            <a:ext cx="2402430" cy="30777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2000" dirty="0">
                <a:solidFill>
                  <a:schemeClr val="bg1"/>
                </a:solidFill>
              </a:rPr>
              <a:t>#</a:t>
            </a:r>
            <a:r>
              <a:rPr lang="en-US" sz="2000" dirty="0" err="1">
                <a:solidFill>
                  <a:schemeClr val="bg1"/>
                </a:solidFill>
              </a:rPr>
              <a:t>Azuredevdays</a:t>
            </a:r>
            <a:endParaRPr lang="en-US" sz="2000" dirty="0">
              <a:solidFill>
                <a:schemeClr val="bg1"/>
              </a:solidFill>
            </a:endParaRPr>
          </a:p>
        </p:txBody>
      </p:sp>
      <p:sp>
        <p:nvSpPr>
          <p:cNvPr id="3" name="TextBox 2">
            <a:extLst>
              <a:ext uri="{FF2B5EF4-FFF2-40B4-BE49-F238E27FC236}">
                <a16:creationId xmlns:a16="http://schemas.microsoft.com/office/drawing/2014/main" id="{CA7654BF-446A-624C-9BAE-BD4F316AF200}"/>
              </a:ext>
            </a:extLst>
          </p:cNvPr>
          <p:cNvSpPr txBox="1"/>
          <p:nvPr/>
        </p:nvSpPr>
        <p:spPr>
          <a:xfrm>
            <a:off x="4483085" y="5548298"/>
            <a:ext cx="3470304" cy="769441"/>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3200" dirty="0">
                <a:solidFill>
                  <a:schemeClr val="bg1"/>
                </a:solidFill>
              </a:rPr>
              <a:t>Mannie Tagarira</a:t>
            </a:r>
          </a:p>
          <a:p>
            <a:pPr algn="ctr"/>
            <a:r>
              <a:rPr lang="en-US" sz="1800" dirty="0">
                <a:solidFill>
                  <a:schemeClr val="bg1"/>
                </a:solidFill>
              </a:rPr>
              <a:t>App Innovation Architect</a:t>
            </a:r>
            <a:endParaRPr lang="en-US" sz="3200" dirty="0">
              <a:solidFill>
                <a:schemeClr val="bg1"/>
              </a:solidFill>
            </a:endParaRPr>
          </a:p>
        </p:txBody>
      </p:sp>
    </p:spTree>
    <p:extLst>
      <p:ext uri="{BB962C8B-B14F-4D97-AF65-F5344CB8AC3E}">
        <p14:creationId xmlns:p14="http://schemas.microsoft.com/office/powerpoint/2010/main" val="6532948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p:txBody>
          <a:bodyPr/>
          <a:lstStyle/>
          <a:p>
            <a:r>
              <a:rPr lang="en-US"/>
              <a:t>Mobile application backends</a:t>
            </a:r>
          </a:p>
        </p:txBody>
      </p:sp>
      <p:grpSp>
        <p:nvGrpSpPr>
          <p:cNvPr id="5" name="Group 4">
            <a:extLst>
              <a:ext uri="{FF2B5EF4-FFF2-40B4-BE49-F238E27FC236}">
                <a16:creationId xmlns:a16="http://schemas.microsoft.com/office/drawing/2014/main" id="{D0C3BDF1-25DF-E440-967F-701233E419C7}"/>
              </a:ext>
            </a:extLst>
          </p:cNvPr>
          <p:cNvGrpSpPr/>
          <p:nvPr/>
        </p:nvGrpSpPr>
        <p:grpSpPr>
          <a:xfrm>
            <a:off x="346630" y="3427904"/>
            <a:ext cx="9185955" cy="2770792"/>
            <a:chOff x="346630" y="2405063"/>
            <a:chExt cx="9185955" cy="2770792"/>
          </a:xfrm>
        </p:grpSpPr>
        <p:grpSp>
          <p:nvGrpSpPr>
            <p:cNvPr id="11" name="Group 10">
              <a:extLst>
                <a:ext uri="{FF2B5EF4-FFF2-40B4-BE49-F238E27FC236}">
                  <a16:creationId xmlns:a16="http://schemas.microsoft.com/office/drawing/2014/main" id="{CA6922E7-E8EF-154D-B193-EE7B4437967D}"/>
                </a:ext>
              </a:extLst>
            </p:cNvPr>
            <p:cNvGrpSpPr/>
            <p:nvPr/>
          </p:nvGrpSpPr>
          <p:grpSpPr>
            <a:xfrm>
              <a:off x="762731" y="3036245"/>
              <a:ext cx="462322" cy="761472"/>
              <a:chOff x="-1299975" y="2538505"/>
              <a:chExt cx="1113822" cy="1834530"/>
            </a:xfrm>
          </p:grpSpPr>
          <p:sp>
            <p:nvSpPr>
              <p:cNvPr id="86" name="Freeform: Shape 246">
                <a:extLst>
                  <a:ext uri="{FF2B5EF4-FFF2-40B4-BE49-F238E27FC236}">
                    <a16:creationId xmlns:a16="http://schemas.microsoft.com/office/drawing/2014/main" id="{9E114E6D-78DF-7048-A142-F0A191041117}"/>
                  </a:ext>
                </a:extLst>
              </p:cNvPr>
              <p:cNvSpPr/>
              <p:nvPr/>
            </p:nvSpPr>
            <p:spPr>
              <a:xfrm>
                <a:off x="-1299975" y="2538505"/>
                <a:ext cx="1113822" cy="1834530"/>
              </a:xfrm>
              <a:custGeom>
                <a:avLst/>
                <a:gdLst>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874643 h 2226364"/>
                  <a:gd name="connsiteX5" fmla="*/ 1200817 w 1351721"/>
                  <a:gd name="connsiteY5" fmla="*/ 1351721 h 2226364"/>
                  <a:gd name="connsiteX6" fmla="*/ 1351721 w 1351721"/>
                  <a:gd name="connsiteY6" fmla="*/ 1351721 h 2226364"/>
                  <a:gd name="connsiteX7" fmla="*/ 1351721 w 1351721"/>
                  <a:gd name="connsiteY7" fmla="*/ 2107088 h 2226364"/>
                  <a:gd name="connsiteX8" fmla="*/ 1232445 w 1351721"/>
                  <a:gd name="connsiteY8" fmla="*/ 2226364 h 2226364"/>
                  <a:gd name="connsiteX9" fmla="*/ 119276 w 1351721"/>
                  <a:gd name="connsiteY9" fmla="*/ 2226364 h 2226364"/>
                  <a:gd name="connsiteX10" fmla="*/ 0 w 1351721"/>
                  <a:gd name="connsiteY10" fmla="*/ 2107088 h 2226364"/>
                  <a:gd name="connsiteX11" fmla="*/ 0 w 1351721"/>
                  <a:gd name="connsiteY11" fmla="*/ 119276 h 2226364"/>
                  <a:gd name="connsiteX12" fmla="*/ 119276 w 1351721"/>
                  <a:gd name="connsiteY12"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1351721 h 2226364"/>
                  <a:gd name="connsiteX5" fmla="*/ 1351721 w 1351721"/>
                  <a:gd name="connsiteY5" fmla="*/ 1351721 h 2226364"/>
                  <a:gd name="connsiteX6" fmla="*/ 1351721 w 1351721"/>
                  <a:gd name="connsiteY6" fmla="*/ 2107088 h 2226364"/>
                  <a:gd name="connsiteX7" fmla="*/ 1232445 w 1351721"/>
                  <a:gd name="connsiteY7" fmla="*/ 2226364 h 2226364"/>
                  <a:gd name="connsiteX8" fmla="*/ 119276 w 1351721"/>
                  <a:gd name="connsiteY8" fmla="*/ 2226364 h 2226364"/>
                  <a:gd name="connsiteX9" fmla="*/ 0 w 1351721"/>
                  <a:gd name="connsiteY9" fmla="*/ 2107088 h 2226364"/>
                  <a:gd name="connsiteX10" fmla="*/ 0 w 1351721"/>
                  <a:gd name="connsiteY10" fmla="*/ 119276 h 2226364"/>
                  <a:gd name="connsiteX11" fmla="*/ 119276 w 1351721"/>
                  <a:gd name="connsiteY11"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351721 w 1351721"/>
                  <a:gd name="connsiteY4" fmla="*/ 1351721 h 2226364"/>
                  <a:gd name="connsiteX5" fmla="*/ 1351721 w 1351721"/>
                  <a:gd name="connsiteY5" fmla="*/ 2107088 h 2226364"/>
                  <a:gd name="connsiteX6" fmla="*/ 1232445 w 1351721"/>
                  <a:gd name="connsiteY6" fmla="*/ 2226364 h 2226364"/>
                  <a:gd name="connsiteX7" fmla="*/ 119276 w 1351721"/>
                  <a:gd name="connsiteY7" fmla="*/ 2226364 h 2226364"/>
                  <a:gd name="connsiteX8" fmla="*/ 0 w 1351721"/>
                  <a:gd name="connsiteY8" fmla="*/ 2107088 h 2226364"/>
                  <a:gd name="connsiteX9" fmla="*/ 0 w 1351721"/>
                  <a:gd name="connsiteY9" fmla="*/ 119276 h 2226364"/>
                  <a:gd name="connsiteX10" fmla="*/ 119276 w 1351721"/>
                  <a:gd name="connsiteY10" fmla="*/ 0 h 2226364"/>
                  <a:gd name="connsiteX0" fmla="*/ 1351721 w 1443161"/>
                  <a:gd name="connsiteY0" fmla="*/ 1351721 h 2226364"/>
                  <a:gd name="connsiteX1" fmla="*/ 1351721 w 1443161"/>
                  <a:gd name="connsiteY1" fmla="*/ 2107088 h 2226364"/>
                  <a:gd name="connsiteX2" fmla="*/ 1232445 w 1443161"/>
                  <a:gd name="connsiteY2" fmla="*/ 2226364 h 2226364"/>
                  <a:gd name="connsiteX3" fmla="*/ 119276 w 1443161"/>
                  <a:gd name="connsiteY3" fmla="*/ 2226364 h 2226364"/>
                  <a:gd name="connsiteX4" fmla="*/ 0 w 1443161"/>
                  <a:gd name="connsiteY4" fmla="*/ 2107088 h 2226364"/>
                  <a:gd name="connsiteX5" fmla="*/ 0 w 1443161"/>
                  <a:gd name="connsiteY5" fmla="*/ 119276 h 2226364"/>
                  <a:gd name="connsiteX6" fmla="*/ 119276 w 1443161"/>
                  <a:gd name="connsiteY6" fmla="*/ 0 h 2226364"/>
                  <a:gd name="connsiteX7" fmla="*/ 1232445 w 1443161"/>
                  <a:gd name="connsiteY7" fmla="*/ 0 h 2226364"/>
                  <a:gd name="connsiteX8" fmla="*/ 1351721 w 1443161"/>
                  <a:gd name="connsiteY8" fmla="*/ 119276 h 2226364"/>
                  <a:gd name="connsiteX9" fmla="*/ 1443161 w 1443161"/>
                  <a:gd name="connsiteY9" fmla="*/ 96608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95465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882263 h 22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721" h="2226364">
                    <a:moveTo>
                      <a:pt x="1351721" y="1351721"/>
                    </a:moveTo>
                    <a:lnTo>
                      <a:pt x="1351721" y="2107088"/>
                    </a:lnTo>
                    <a:cubicBezTo>
                      <a:pt x="1351721" y="2172962"/>
                      <a:pt x="1298319" y="2226364"/>
                      <a:pt x="1232445" y="2226364"/>
                    </a:cubicBezTo>
                    <a:lnTo>
                      <a:pt x="119276" y="2226364"/>
                    </a:lnTo>
                    <a:cubicBezTo>
                      <a:pt x="53402" y="2226364"/>
                      <a:pt x="0" y="2172962"/>
                      <a:pt x="0" y="2107088"/>
                    </a:cubicBezTo>
                    <a:lnTo>
                      <a:pt x="0" y="119276"/>
                    </a:lnTo>
                    <a:cubicBezTo>
                      <a:pt x="0" y="53402"/>
                      <a:pt x="53402" y="0"/>
                      <a:pt x="119276" y="0"/>
                    </a:cubicBezTo>
                    <a:lnTo>
                      <a:pt x="1232445" y="0"/>
                    </a:lnTo>
                    <a:cubicBezTo>
                      <a:pt x="1298319" y="0"/>
                      <a:pt x="1351721" y="53402"/>
                      <a:pt x="1351721" y="119276"/>
                    </a:cubicBezTo>
                    <a:lnTo>
                      <a:pt x="1351721" y="882263"/>
                    </a:lnTo>
                  </a:path>
                </a:pathLst>
              </a:cu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C0351AEA-F99C-2B4D-B351-32CC595B7FB8}"/>
                  </a:ext>
                </a:extLst>
              </p:cNvPr>
              <p:cNvSpPr/>
              <p:nvPr/>
            </p:nvSpPr>
            <p:spPr>
              <a:xfrm>
                <a:off x="-841343" y="4099449"/>
                <a:ext cx="196557" cy="196557"/>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8" name="Straight Connector 97">
                <a:extLst>
                  <a:ext uri="{FF2B5EF4-FFF2-40B4-BE49-F238E27FC236}">
                    <a16:creationId xmlns:a16="http://schemas.microsoft.com/office/drawing/2014/main" id="{07FAF61E-C12A-7240-B181-D98432779CBC}"/>
                  </a:ext>
                </a:extLst>
              </p:cNvPr>
              <p:cNvCxnSpPr/>
              <p:nvPr/>
            </p:nvCxnSpPr>
            <p:spPr>
              <a:xfrm>
                <a:off x="-906861" y="2669540"/>
                <a:ext cx="327595"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236C29AF-E0D6-1048-89F7-D21D2477F95B}"/>
                </a:ext>
              </a:extLst>
            </p:cNvPr>
            <p:cNvGrpSpPr/>
            <p:nvPr/>
          </p:nvGrpSpPr>
          <p:grpSpPr>
            <a:xfrm>
              <a:off x="893067" y="3324455"/>
              <a:ext cx="206888" cy="176796"/>
              <a:chOff x="1711196" y="3339549"/>
              <a:chExt cx="670338" cy="572835"/>
            </a:xfrm>
          </p:grpSpPr>
          <p:sp>
            <p:nvSpPr>
              <p:cNvPr id="100" name="Freeform: Shape 321">
                <a:extLst>
                  <a:ext uri="{FF2B5EF4-FFF2-40B4-BE49-F238E27FC236}">
                    <a16:creationId xmlns:a16="http://schemas.microsoft.com/office/drawing/2014/main" id="{AA3E2FB3-6B4E-8B4B-9F58-EAAAFFA28203}"/>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Oval 101">
                <a:extLst>
                  <a:ext uri="{FF2B5EF4-FFF2-40B4-BE49-F238E27FC236}">
                    <a16:creationId xmlns:a16="http://schemas.microsoft.com/office/drawing/2014/main" id="{D4E8DA7E-18C2-574E-9566-67149281B56E}"/>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03" name="Rectangle: Rounded Corners 314">
              <a:extLst>
                <a:ext uri="{FF2B5EF4-FFF2-40B4-BE49-F238E27FC236}">
                  <a16:creationId xmlns:a16="http://schemas.microsoft.com/office/drawing/2014/main" id="{D68F0B1C-0B38-6048-9CFA-72DE714A30CE}"/>
                </a:ext>
              </a:extLst>
            </p:cNvPr>
            <p:cNvSpPr/>
            <p:nvPr/>
          </p:nvSpPr>
          <p:spPr>
            <a:xfrm>
              <a:off x="2290321" y="3190498"/>
              <a:ext cx="618727" cy="618727"/>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5" name="Group 104">
              <a:extLst>
                <a:ext uri="{FF2B5EF4-FFF2-40B4-BE49-F238E27FC236}">
                  <a16:creationId xmlns:a16="http://schemas.microsoft.com/office/drawing/2014/main" id="{D0AE7C59-801D-8844-95E6-1738AE1F91AF}"/>
                </a:ext>
              </a:extLst>
            </p:cNvPr>
            <p:cNvGrpSpPr/>
            <p:nvPr/>
          </p:nvGrpSpPr>
          <p:grpSpPr>
            <a:xfrm>
              <a:off x="2408393" y="3366615"/>
              <a:ext cx="341084" cy="291472"/>
              <a:chOff x="1711196" y="3339549"/>
              <a:chExt cx="670338" cy="572835"/>
            </a:xfrm>
          </p:grpSpPr>
          <p:sp>
            <p:nvSpPr>
              <p:cNvPr id="106" name="Freeform: Shape 317">
                <a:extLst>
                  <a:ext uri="{FF2B5EF4-FFF2-40B4-BE49-F238E27FC236}">
                    <a16:creationId xmlns:a16="http://schemas.microsoft.com/office/drawing/2014/main" id="{CF4C528F-8A48-5F43-BEF1-758B03C94720}"/>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Oval 106">
                <a:extLst>
                  <a:ext uri="{FF2B5EF4-FFF2-40B4-BE49-F238E27FC236}">
                    <a16:creationId xmlns:a16="http://schemas.microsoft.com/office/drawing/2014/main" id="{0C795527-B0E2-D84D-A137-CBEA392F41B4}"/>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ABEB2AC3-2CFD-7643-AE11-FA84EB1888DE}"/>
                </a:ext>
              </a:extLst>
            </p:cNvPr>
            <p:cNvGrpSpPr/>
            <p:nvPr/>
          </p:nvGrpSpPr>
          <p:grpSpPr>
            <a:xfrm>
              <a:off x="4430548" y="3594524"/>
              <a:ext cx="390532" cy="207474"/>
              <a:chOff x="2928719" y="3651992"/>
              <a:chExt cx="635329" cy="337525"/>
            </a:xfrm>
          </p:grpSpPr>
          <p:sp>
            <p:nvSpPr>
              <p:cNvPr id="108" name="Oval 107">
                <a:extLst>
                  <a:ext uri="{FF2B5EF4-FFF2-40B4-BE49-F238E27FC236}">
                    <a16:creationId xmlns:a16="http://schemas.microsoft.com/office/drawing/2014/main" id="{49AAF85F-2532-544B-9750-798F0F49DD05}"/>
                  </a:ext>
                </a:extLst>
              </p:cNvPr>
              <p:cNvSpPr/>
              <p:nvPr/>
            </p:nvSpPr>
            <p:spPr>
              <a:xfrm>
                <a:off x="3143826" y="3876497"/>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Oval 109">
                <a:extLst>
                  <a:ext uri="{FF2B5EF4-FFF2-40B4-BE49-F238E27FC236}">
                    <a16:creationId xmlns:a16="http://schemas.microsoft.com/office/drawing/2014/main" id="{A5177E05-045D-C94C-8182-9F3925A5A59A}"/>
                  </a:ext>
                </a:extLst>
              </p:cNvPr>
              <p:cNvSpPr/>
              <p:nvPr/>
            </p:nvSpPr>
            <p:spPr>
              <a:xfrm>
                <a:off x="3451028" y="3773707"/>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Oval 110">
                <a:extLst>
                  <a:ext uri="{FF2B5EF4-FFF2-40B4-BE49-F238E27FC236}">
                    <a16:creationId xmlns:a16="http://schemas.microsoft.com/office/drawing/2014/main" id="{E21E3C76-8B91-9145-826C-D933E6F586A9}"/>
                  </a:ext>
                </a:extLst>
              </p:cNvPr>
              <p:cNvSpPr/>
              <p:nvPr/>
            </p:nvSpPr>
            <p:spPr>
              <a:xfrm>
                <a:off x="3359389" y="3836256"/>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Oval 111">
                <a:extLst>
                  <a:ext uri="{FF2B5EF4-FFF2-40B4-BE49-F238E27FC236}">
                    <a16:creationId xmlns:a16="http://schemas.microsoft.com/office/drawing/2014/main" id="{CBE8E756-0E87-E349-892A-557CFC95D49F}"/>
                  </a:ext>
                </a:extLst>
              </p:cNvPr>
              <p:cNvSpPr/>
              <p:nvPr/>
            </p:nvSpPr>
            <p:spPr>
              <a:xfrm>
                <a:off x="3252235" y="386874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Oval 112">
                <a:extLst>
                  <a:ext uri="{FF2B5EF4-FFF2-40B4-BE49-F238E27FC236}">
                    <a16:creationId xmlns:a16="http://schemas.microsoft.com/office/drawing/2014/main" id="{0410A5BA-B259-1D43-BF15-CED1DBC617F4}"/>
                  </a:ext>
                </a:extLst>
              </p:cNvPr>
              <p:cNvSpPr/>
              <p:nvPr/>
            </p:nvSpPr>
            <p:spPr>
              <a:xfrm flipH="1">
                <a:off x="2928719" y="3836256"/>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Oval 113">
                <a:extLst>
                  <a:ext uri="{FF2B5EF4-FFF2-40B4-BE49-F238E27FC236}">
                    <a16:creationId xmlns:a16="http://schemas.microsoft.com/office/drawing/2014/main" id="{494BD7A2-68C3-9046-B8FD-03D4781F9499}"/>
                  </a:ext>
                </a:extLst>
              </p:cNvPr>
              <p:cNvSpPr/>
              <p:nvPr/>
            </p:nvSpPr>
            <p:spPr>
              <a:xfrm flipH="1">
                <a:off x="3035873" y="386874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Oval 114">
                <a:extLst>
                  <a:ext uri="{FF2B5EF4-FFF2-40B4-BE49-F238E27FC236}">
                    <a16:creationId xmlns:a16="http://schemas.microsoft.com/office/drawing/2014/main" id="{43CD9EF4-C72C-A34A-AC8E-7174B44E1CE7}"/>
                  </a:ext>
                </a:extLst>
              </p:cNvPr>
              <p:cNvSpPr/>
              <p:nvPr/>
            </p:nvSpPr>
            <p:spPr>
              <a:xfrm>
                <a:off x="3306488" y="3742635"/>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Oval 115">
                <a:extLst>
                  <a:ext uri="{FF2B5EF4-FFF2-40B4-BE49-F238E27FC236}">
                    <a16:creationId xmlns:a16="http://schemas.microsoft.com/office/drawing/2014/main" id="{45A810C7-195F-9B46-AF8C-647F95842EA5}"/>
                  </a:ext>
                </a:extLst>
              </p:cNvPr>
              <p:cNvSpPr/>
              <p:nvPr/>
            </p:nvSpPr>
            <p:spPr>
              <a:xfrm>
                <a:off x="3098615" y="3777275"/>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Oval 116">
                <a:extLst>
                  <a:ext uri="{FF2B5EF4-FFF2-40B4-BE49-F238E27FC236}">
                    <a16:creationId xmlns:a16="http://schemas.microsoft.com/office/drawing/2014/main" id="{C7E6174E-1D30-FD4D-8467-6B6ABC1E7866}"/>
                  </a:ext>
                </a:extLst>
              </p:cNvPr>
              <p:cNvSpPr/>
              <p:nvPr/>
            </p:nvSpPr>
            <p:spPr>
              <a:xfrm>
                <a:off x="3203094" y="377068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Oval 117">
                <a:extLst>
                  <a:ext uri="{FF2B5EF4-FFF2-40B4-BE49-F238E27FC236}">
                    <a16:creationId xmlns:a16="http://schemas.microsoft.com/office/drawing/2014/main" id="{2065A3AA-9347-9C44-8032-A61EF215FA2E}"/>
                  </a:ext>
                </a:extLst>
              </p:cNvPr>
              <p:cNvSpPr/>
              <p:nvPr/>
            </p:nvSpPr>
            <p:spPr>
              <a:xfrm>
                <a:off x="3393630" y="367759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Oval 118">
                <a:extLst>
                  <a:ext uri="{FF2B5EF4-FFF2-40B4-BE49-F238E27FC236}">
                    <a16:creationId xmlns:a16="http://schemas.microsoft.com/office/drawing/2014/main" id="{42F5FD64-8107-1E49-91F6-23047CD424BF}"/>
                  </a:ext>
                </a:extLst>
              </p:cNvPr>
              <p:cNvSpPr/>
              <p:nvPr/>
            </p:nvSpPr>
            <p:spPr>
              <a:xfrm>
                <a:off x="2990013" y="3756477"/>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Oval 119">
                <a:extLst>
                  <a:ext uri="{FF2B5EF4-FFF2-40B4-BE49-F238E27FC236}">
                    <a16:creationId xmlns:a16="http://schemas.microsoft.com/office/drawing/2014/main" id="{8397472F-7BBA-0D4A-B9A4-17B51271F928}"/>
                  </a:ext>
                </a:extLst>
              </p:cNvPr>
              <p:cNvSpPr/>
              <p:nvPr/>
            </p:nvSpPr>
            <p:spPr>
              <a:xfrm>
                <a:off x="3254474" y="3651992"/>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Oval 120">
                <a:extLst>
                  <a:ext uri="{FF2B5EF4-FFF2-40B4-BE49-F238E27FC236}">
                    <a16:creationId xmlns:a16="http://schemas.microsoft.com/office/drawing/2014/main" id="{42DDCCAA-7EE2-7E42-80CD-511EF58F51F3}"/>
                  </a:ext>
                </a:extLst>
              </p:cNvPr>
              <p:cNvSpPr/>
              <p:nvPr/>
            </p:nvSpPr>
            <p:spPr>
              <a:xfrm>
                <a:off x="3148054" y="3676330"/>
                <a:ext cx="113020" cy="11302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22" name="Flowchart: Magnetic Disk 308">
              <a:extLst>
                <a:ext uri="{FF2B5EF4-FFF2-40B4-BE49-F238E27FC236}">
                  <a16:creationId xmlns:a16="http://schemas.microsoft.com/office/drawing/2014/main" id="{8E4955A1-8AD1-8848-BAB9-DDBF15CDB2B6}"/>
                </a:ext>
              </a:extLst>
            </p:cNvPr>
            <p:cNvSpPr/>
            <p:nvPr/>
          </p:nvSpPr>
          <p:spPr>
            <a:xfrm>
              <a:off x="4318722" y="3138822"/>
              <a:ext cx="471398" cy="679599"/>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3" name="Group 122">
              <a:extLst>
                <a:ext uri="{FF2B5EF4-FFF2-40B4-BE49-F238E27FC236}">
                  <a16:creationId xmlns:a16="http://schemas.microsoft.com/office/drawing/2014/main" id="{0715B0B6-FCD1-7547-B9FC-107D40FB7F34}"/>
                </a:ext>
              </a:extLst>
            </p:cNvPr>
            <p:cNvGrpSpPr/>
            <p:nvPr/>
          </p:nvGrpSpPr>
          <p:grpSpPr>
            <a:xfrm>
              <a:off x="4236496" y="3387711"/>
              <a:ext cx="217134" cy="217134"/>
              <a:chOff x="7707356" y="2054306"/>
              <a:chExt cx="438912" cy="438912"/>
            </a:xfrm>
          </p:grpSpPr>
          <p:sp>
            <p:nvSpPr>
              <p:cNvPr id="124" name="Rectangle 123">
                <a:extLst>
                  <a:ext uri="{FF2B5EF4-FFF2-40B4-BE49-F238E27FC236}">
                    <a16:creationId xmlns:a16="http://schemas.microsoft.com/office/drawing/2014/main" id="{3C9151DE-15A9-324A-9CA3-40F5EE21A265}"/>
                  </a:ext>
                </a:extLst>
              </p:cNvPr>
              <p:cNvSpPr/>
              <p:nvPr/>
            </p:nvSpPr>
            <p:spPr>
              <a:xfrm>
                <a:off x="7707356" y="2054306"/>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5" name="Graphic 87">
                <a:extLst>
                  <a:ext uri="{FF2B5EF4-FFF2-40B4-BE49-F238E27FC236}">
                    <a16:creationId xmlns:a16="http://schemas.microsoft.com/office/drawing/2014/main" id="{2A74B307-D798-FB49-8DEE-C4946805E2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43932" y="2090882"/>
                <a:ext cx="365760" cy="365760"/>
              </a:xfrm>
              <a:prstGeom prst="rect">
                <a:avLst/>
              </a:prstGeom>
            </p:spPr>
          </p:pic>
        </p:grpSp>
        <p:sp>
          <p:nvSpPr>
            <p:cNvPr id="126" name="Rectangle 125">
              <a:extLst>
                <a:ext uri="{FF2B5EF4-FFF2-40B4-BE49-F238E27FC236}">
                  <a16:creationId xmlns:a16="http://schemas.microsoft.com/office/drawing/2014/main" id="{E8AE0C2D-F908-C349-8663-15B0FA6B233F}"/>
                </a:ext>
              </a:extLst>
            </p:cNvPr>
            <p:cNvSpPr/>
            <p:nvPr/>
          </p:nvSpPr>
          <p:spPr>
            <a:xfrm>
              <a:off x="4467219" y="3101900"/>
              <a:ext cx="140958" cy="939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Arc 126">
              <a:extLst>
                <a:ext uri="{FF2B5EF4-FFF2-40B4-BE49-F238E27FC236}">
                  <a16:creationId xmlns:a16="http://schemas.microsoft.com/office/drawing/2014/main" id="{121C217B-E99B-A748-BF33-ABE67D7F4423}"/>
                </a:ext>
              </a:extLst>
            </p:cNvPr>
            <p:cNvSpPr/>
            <p:nvPr/>
          </p:nvSpPr>
          <p:spPr>
            <a:xfrm>
              <a:off x="2670310" y="2405063"/>
              <a:ext cx="1888656" cy="1432136"/>
            </a:xfrm>
            <a:prstGeom prst="arc">
              <a:avLst>
                <a:gd name="adj1" fmla="val 10857285"/>
                <a:gd name="adj2" fmla="val 21545733"/>
              </a:avLst>
            </a:prstGeom>
            <a:ln w="1905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28" name="Group 127">
              <a:extLst>
                <a:ext uri="{FF2B5EF4-FFF2-40B4-BE49-F238E27FC236}">
                  <a16:creationId xmlns:a16="http://schemas.microsoft.com/office/drawing/2014/main" id="{7F356689-D2C1-F54E-B014-9125E7D8C5FD}"/>
                </a:ext>
              </a:extLst>
            </p:cNvPr>
            <p:cNvGrpSpPr/>
            <p:nvPr/>
          </p:nvGrpSpPr>
          <p:grpSpPr>
            <a:xfrm>
              <a:off x="6295590" y="3228223"/>
              <a:ext cx="460315" cy="460315"/>
              <a:chOff x="3207017" y="2968487"/>
              <a:chExt cx="1097280" cy="1097280"/>
            </a:xfrm>
          </p:grpSpPr>
          <p:sp>
            <p:nvSpPr>
              <p:cNvPr id="129" name="Rectangle: Rounded Corners 288">
                <a:extLst>
                  <a:ext uri="{FF2B5EF4-FFF2-40B4-BE49-F238E27FC236}">
                    <a16:creationId xmlns:a16="http://schemas.microsoft.com/office/drawing/2014/main" id="{9C4F1368-1EED-794D-9489-0BA755611353}"/>
                  </a:ext>
                </a:extLst>
              </p:cNvPr>
              <p:cNvSpPr/>
              <p:nvPr/>
            </p:nvSpPr>
            <p:spPr>
              <a:xfrm>
                <a:off x="3207017" y="2968487"/>
                <a:ext cx="1097280" cy="1097280"/>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 name="Oval 129">
                <a:extLst>
                  <a:ext uri="{FF2B5EF4-FFF2-40B4-BE49-F238E27FC236}">
                    <a16:creationId xmlns:a16="http://schemas.microsoft.com/office/drawing/2014/main" id="{D9BE5773-1DC5-7648-AA53-DA9639A25182}"/>
                  </a:ext>
                </a:extLst>
              </p:cNvPr>
              <p:cNvSpPr/>
              <p:nvPr/>
            </p:nvSpPr>
            <p:spPr>
              <a:xfrm>
                <a:off x="3687077" y="3448547"/>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31" name="Rectangle 130">
              <a:extLst>
                <a:ext uri="{FF2B5EF4-FFF2-40B4-BE49-F238E27FC236}">
                  <a16:creationId xmlns:a16="http://schemas.microsoft.com/office/drawing/2014/main" id="{94CDF8FE-8FE4-3F47-812A-51E78DE2D6C3}"/>
                </a:ext>
              </a:extLst>
            </p:cNvPr>
            <p:cNvSpPr/>
            <p:nvPr/>
          </p:nvSpPr>
          <p:spPr>
            <a:xfrm>
              <a:off x="4737897" y="3381841"/>
              <a:ext cx="100055" cy="17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2" name="Connector: Elbow 257">
              <a:extLst>
                <a:ext uri="{FF2B5EF4-FFF2-40B4-BE49-F238E27FC236}">
                  <a16:creationId xmlns:a16="http://schemas.microsoft.com/office/drawing/2014/main" id="{0B8DC518-6BD4-C54F-B0F3-1DB318D4B045}"/>
                </a:ext>
              </a:extLst>
            </p:cNvPr>
            <p:cNvCxnSpPr>
              <a:cxnSpLocks/>
              <a:stCxn id="121" idx="0"/>
            </p:cNvCxnSpPr>
            <p:nvPr/>
          </p:nvCxnSpPr>
          <p:spPr>
            <a:xfrm rot="5400000" flipH="1" flipV="1">
              <a:off x="5182843" y="2873104"/>
              <a:ext cx="153646" cy="1319115"/>
            </a:xfrm>
            <a:prstGeom prst="bentConnector2">
              <a:avLst/>
            </a:prstGeom>
            <a:ln w="19050">
              <a:solidFill>
                <a:srgbClr val="A8A9AD"/>
              </a:solidFill>
              <a:tailEnd type="arrow" w="lg"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0C10D9E7-74F5-D846-986A-C14A95EDAAF2}"/>
                </a:ext>
              </a:extLst>
            </p:cNvPr>
            <p:cNvGrpSpPr/>
            <p:nvPr/>
          </p:nvGrpSpPr>
          <p:grpSpPr>
            <a:xfrm>
              <a:off x="5090025" y="3350724"/>
              <a:ext cx="226040" cy="226040"/>
              <a:chOff x="8093362" y="2108175"/>
              <a:chExt cx="274320" cy="274320"/>
            </a:xfrm>
          </p:grpSpPr>
          <p:sp>
            <p:nvSpPr>
              <p:cNvPr id="134" name="Oval 133">
                <a:extLst>
                  <a:ext uri="{FF2B5EF4-FFF2-40B4-BE49-F238E27FC236}">
                    <a16:creationId xmlns:a16="http://schemas.microsoft.com/office/drawing/2014/main" id="{182A4FCD-1462-474B-A27D-CD390D8FF3F6}"/>
                  </a:ext>
                </a:extLst>
              </p:cNvPr>
              <p:cNvSpPr/>
              <p:nvPr/>
            </p:nvSpPr>
            <p:spPr>
              <a:xfrm>
                <a:off x="8093362" y="210817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5" name="Oval 134">
                <a:extLst>
                  <a:ext uri="{FF2B5EF4-FFF2-40B4-BE49-F238E27FC236}">
                    <a16:creationId xmlns:a16="http://schemas.microsoft.com/office/drawing/2014/main" id="{F047D8A4-6498-8741-A912-273DADE3C806}"/>
                  </a:ext>
                </a:extLst>
              </p:cNvPr>
              <p:cNvSpPr/>
              <p:nvPr/>
            </p:nvSpPr>
            <p:spPr>
              <a:xfrm>
                <a:off x="8161942" y="217675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136" name="Straight Arrow Connector 135">
              <a:extLst>
                <a:ext uri="{FF2B5EF4-FFF2-40B4-BE49-F238E27FC236}">
                  <a16:creationId xmlns:a16="http://schemas.microsoft.com/office/drawing/2014/main" id="{B89B9C8C-4CC5-EE42-8826-F12024AD2F02}"/>
                </a:ext>
              </a:extLst>
            </p:cNvPr>
            <p:cNvCxnSpPr>
              <a:cxnSpLocks/>
            </p:cNvCxnSpPr>
            <p:nvPr/>
          </p:nvCxnSpPr>
          <p:spPr>
            <a:xfrm>
              <a:off x="6910299" y="3455771"/>
              <a:ext cx="1671636"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37" name="Rectangle 136">
              <a:extLst>
                <a:ext uri="{FF2B5EF4-FFF2-40B4-BE49-F238E27FC236}">
                  <a16:creationId xmlns:a16="http://schemas.microsoft.com/office/drawing/2014/main" id="{850CB847-E577-E142-ABE0-E8AC020DE925}"/>
                </a:ext>
              </a:extLst>
            </p:cNvPr>
            <p:cNvSpPr/>
            <p:nvPr/>
          </p:nvSpPr>
          <p:spPr>
            <a:xfrm>
              <a:off x="8279721" y="3350724"/>
              <a:ext cx="56135" cy="21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8" name="Left Bracket 137">
              <a:extLst>
                <a:ext uri="{FF2B5EF4-FFF2-40B4-BE49-F238E27FC236}">
                  <a16:creationId xmlns:a16="http://schemas.microsoft.com/office/drawing/2014/main" id="{C4631995-56D0-E44A-BB6E-562E60ADF4C5}"/>
                </a:ext>
              </a:extLst>
            </p:cNvPr>
            <p:cNvSpPr/>
            <p:nvPr/>
          </p:nvSpPr>
          <p:spPr>
            <a:xfrm>
              <a:off x="8318165" y="2678645"/>
              <a:ext cx="191352" cy="1447305"/>
            </a:xfrm>
            <a:prstGeom prst="leftBracket">
              <a:avLst/>
            </a:prstGeom>
            <a:ln w="19050">
              <a:solidFill>
                <a:srgbClr val="0078D7"/>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D3CD39AD-500C-E144-AB1C-06B838219116}"/>
                </a:ext>
              </a:extLst>
            </p:cNvPr>
            <p:cNvSpPr/>
            <p:nvPr/>
          </p:nvSpPr>
          <p:spPr>
            <a:xfrm>
              <a:off x="7644301" y="3228223"/>
              <a:ext cx="431344" cy="4313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0" name="Group 139">
              <a:extLst>
                <a:ext uri="{FF2B5EF4-FFF2-40B4-BE49-F238E27FC236}">
                  <a16:creationId xmlns:a16="http://schemas.microsoft.com/office/drawing/2014/main" id="{E688B518-0FC0-F64B-BA35-BD453143657E}"/>
                </a:ext>
              </a:extLst>
            </p:cNvPr>
            <p:cNvGrpSpPr/>
            <p:nvPr/>
          </p:nvGrpSpPr>
          <p:grpSpPr>
            <a:xfrm>
              <a:off x="7728118" y="3361235"/>
              <a:ext cx="248641" cy="218667"/>
              <a:chOff x="10104172" y="3660484"/>
              <a:chExt cx="354829" cy="312054"/>
            </a:xfrm>
          </p:grpSpPr>
          <p:pic>
            <p:nvPicPr>
              <p:cNvPr id="141" name="Graphic 128">
                <a:extLst>
                  <a:ext uri="{FF2B5EF4-FFF2-40B4-BE49-F238E27FC236}">
                    <a16:creationId xmlns:a16="http://schemas.microsoft.com/office/drawing/2014/main" id="{07BECDC7-6EFD-4345-BB8F-F68D3B34043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157613" y="3660484"/>
                <a:ext cx="301388" cy="301388"/>
              </a:xfrm>
              <a:prstGeom prst="rect">
                <a:avLst/>
              </a:prstGeom>
            </p:spPr>
          </p:pic>
          <p:sp>
            <p:nvSpPr>
              <p:cNvPr id="142" name="Oval 141">
                <a:extLst>
                  <a:ext uri="{FF2B5EF4-FFF2-40B4-BE49-F238E27FC236}">
                    <a16:creationId xmlns:a16="http://schemas.microsoft.com/office/drawing/2014/main" id="{CA3EB941-58B4-F347-8B02-45BF219C40F2}"/>
                  </a:ext>
                </a:extLst>
              </p:cNvPr>
              <p:cNvSpPr/>
              <p:nvPr/>
            </p:nvSpPr>
            <p:spPr>
              <a:xfrm>
                <a:off x="10104172" y="3859518"/>
                <a:ext cx="113020" cy="11302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9" name="Group 148">
              <a:extLst>
                <a:ext uri="{FF2B5EF4-FFF2-40B4-BE49-F238E27FC236}">
                  <a16:creationId xmlns:a16="http://schemas.microsoft.com/office/drawing/2014/main" id="{38A4822F-2D38-794E-AA18-994A117B59A3}"/>
                </a:ext>
              </a:extLst>
            </p:cNvPr>
            <p:cNvGrpSpPr/>
            <p:nvPr/>
          </p:nvGrpSpPr>
          <p:grpSpPr>
            <a:xfrm>
              <a:off x="8622894" y="3254319"/>
              <a:ext cx="235187" cy="387740"/>
              <a:chOff x="11023961" y="4214250"/>
              <a:chExt cx="534826" cy="881740"/>
            </a:xfrm>
          </p:grpSpPr>
          <p:sp>
            <p:nvSpPr>
              <p:cNvPr id="150" name="Rectangle: Rounded Corners 274">
                <a:extLst>
                  <a:ext uri="{FF2B5EF4-FFF2-40B4-BE49-F238E27FC236}">
                    <a16:creationId xmlns:a16="http://schemas.microsoft.com/office/drawing/2014/main" id="{034326D0-40A7-A24B-B72A-5761D4A0DD88}"/>
                  </a:ext>
                </a:extLst>
              </p:cNvPr>
              <p:cNvSpPr/>
              <p:nvPr/>
            </p:nvSpPr>
            <p:spPr>
              <a:xfrm>
                <a:off x="11023961" y="4214250"/>
                <a:ext cx="534826" cy="881740"/>
              </a:xfrm>
              <a:prstGeom prst="roundRect">
                <a:avLst>
                  <a:gd name="adj" fmla="val 9391"/>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1" name="Oval 150">
                <a:extLst>
                  <a:ext uri="{FF2B5EF4-FFF2-40B4-BE49-F238E27FC236}">
                    <a16:creationId xmlns:a16="http://schemas.microsoft.com/office/drawing/2014/main" id="{3331B5E3-C98B-4149-8126-4B83430782EE}"/>
                  </a:ext>
                </a:extLst>
              </p:cNvPr>
              <p:cNvSpPr/>
              <p:nvPr/>
            </p:nvSpPr>
            <p:spPr>
              <a:xfrm>
                <a:off x="11246061" y="4917092"/>
                <a:ext cx="94270" cy="94270"/>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2" name="Straight Connector 151">
                <a:extLst>
                  <a:ext uri="{FF2B5EF4-FFF2-40B4-BE49-F238E27FC236}">
                    <a16:creationId xmlns:a16="http://schemas.microsoft.com/office/drawing/2014/main" id="{D2726738-D2ED-0249-BAA3-ECC7724DF394}"/>
                  </a:ext>
                </a:extLst>
              </p:cNvPr>
              <p:cNvCxnSpPr/>
              <p:nvPr/>
            </p:nvCxnSpPr>
            <p:spPr>
              <a:xfrm>
                <a:off x="11214638" y="4279319"/>
                <a:ext cx="157117"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pic>
            <p:nvPicPr>
              <p:cNvPr id="153" name="Graphic 163">
                <a:extLst>
                  <a:ext uri="{FF2B5EF4-FFF2-40B4-BE49-F238E27FC236}">
                    <a16:creationId xmlns:a16="http://schemas.microsoft.com/office/drawing/2014/main" id="{41CBE398-F870-CC43-878C-A4F52AF0C94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61059" y="4483595"/>
                <a:ext cx="261907" cy="261907"/>
              </a:xfrm>
              <a:prstGeom prst="rect">
                <a:avLst/>
              </a:prstGeom>
            </p:spPr>
          </p:pic>
          <p:sp>
            <p:nvSpPr>
              <p:cNvPr id="154" name="Oval 153">
                <a:extLst>
                  <a:ext uri="{FF2B5EF4-FFF2-40B4-BE49-F238E27FC236}">
                    <a16:creationId xmlns:a16="http://schemas.microsoft.com/office/drawing/2014/main" id="{867D9AB1-5F6C-754E-B20C-09F106C71BE7}"/>
                  </a:ext>
                </a:extLst>
              </p:cNvPr>
              <p:cNvSpPr/>
              <p:nvPr/>
            </p:nvSpPr>
            <p:spPr>
              <a:xfrm rot="10800000" flipV="1">
                <a:off x="11116077" y="4651127"/>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61" name="TextBox 160">
              <a:extLst>
                <a:ext uri="{FF2B5EF4-FFF2-40B4-BE49-F238E27FC236}">
                  <a16:creationId xmlns:a16="http://schemas.microsoft.com/office/drawing/2014/main" id="{8FAB310A-1393-F14E-B0AB-16C79876E4B9}"/>
                </a:ext>
              </a:extLst>
            </p:cNvPr>
            <p:cNvSpPr txBox="1"/>
            <p:nvPr/>
          </p:nvSpPr>
          <p:spPr>
            <a:xfrm>
              <a:off x="2004566" y="4529524"/>
              <a:ext cx="1385993"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57200">
                <a:defRPr/>
              </a:pPr>
              <a:r>
                <a:rPr lang="en-US" sz="1200">
                  <a:solidFill>
                    <a:schemeClr val="tx1"/>
                  </a:solidFill>
                  <a:latin typeface="+mn-lt"/>
                </a:rPr>
                <a:t>Call processed by a function</a:t>
              </a:r>
            </a:p>
          </p:txBody>
        </p:sp>
        <p:sp>
          <p:nvSpPr>
            <p:cNvPr id="162" name="TextBox 161">
              <a:extLst>
                <a:ext uri="{FF2B5EF4-FFF2-40B4-BE49-F238E27FC236}">
                  <a16:creationId xmlns:a16="http://schemas.microsoft.com/office/drawing/2014/main" id="{D5C9FB06-ADB7-CB42-81AF-15BFD414F4A2}"/>
                </a:ext>
              </a:extLst>
            </p:cNvPr>
            <p:cNvSpPr txBox="1"/>
            <p:nvPr/>
          </p:nvSpPr>
          <p:spPr>
            <a:xfrm>
              <a:off x="3848546" y="4529524"/>
              <a:ext cx="149792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mn-lt"/>
                </a:rPr>
                <a:t>Output data stored in Cosmos DB</a:t>
              </a:r>
            </a:p>
          </p:txBody>
        </p:sp>
        <p:sp>
          <p:nvSpPr>
            <p:cNvPr id="163" name="TextBox 162">
              <a:extLst>
                <a:ext uri="{FF2B5EF4-FFF2-40B4-BE49-F238E27FC236}">
                  <a16:creationId xmlns:a16="http://schemas.microsoft.com/office/drawing/2014/main" id="{0C6C5E56-A157-3641-A109-DA5B2ABAE8C9}"/>
                </a:ext>
              </a:extLst>
            </p:cNvPr>
            <p:cNvSpPr txBox="1"/>
            <p:nvPr/>
          </p:nvSpPr>
          <p:spPr>
            <a:xfrm>
              <a:off x="5794072" y="4529524"/>
              <a:ext cx="1469637"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 transfer triggers second function…</a:t>
              </a:r>
            </a:p>
          </p:txBody>
        </p:sp>
        <p:sp>
          <p:nvSpPr>
            <p:cNvPr id="164" name="TextBox 163">
              <a:extLst>
                <a:ext uri="{FF2B5EF4-FFF2-40B4-BE49-F238E27FC236}">
                  <a16:creationId xmlns:a16="http://schemas.microsoft.com/office/drawing/2014/main" id="{ED02B364-AE52-FD47-990D-F0B5DB45C21D}"/>
                </a:ext>
              </a:extLst>
            </p:cNvPr>
            <p:cNvSpPr txBox="1"/>
            <p:nvPr/>
          </p:nvSpPr>
          <p:spPr>
            <a:xfrm>
              <a:off x="7802210" y="4507796"/>
              <a:ext cx="1730375"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which sends notifications using Notifications Hub </a:t>
              </a:r>
            </a:p>
          </p:txBody>
        </p:sp>
        <p:grpSp>
          <p:nvGrpSpPr>
            <p:cNvPr id="166" name="Group 165">
              <a:extLst>
                <a:ext uri="{FF2B5EF4-FFF2-40B4-BE49-F238E27FC236}">
                  <a16:creationId xmlns:a16="http://schemas.microsoft.com/office/drawing/2014/main" id="{848CBF34-1FBE-7347-AD4D-F104A50FE972}"/>
                </a:ext>
              </a:extLst>
            </p:cNvPr>
            <p:cNvGrpSpPr/>
            <p:nvPr/>
          </p:nvGrpSpPr>
          <p:grpSpPr>
            <a:xfrm>
              <a:off x="2699475" y="2629117"/>
              <a:ext cx="274320" cy="274320"/>
              <a:chOff x="10397072" y="2500811"/>
              <a:chExt cx="274320" cy="274320"/>
            </a:xfrm>
          </p:grpSpPr>
          <p:sp>
            <p:nvSpPr>
              <p:cNvPr id="167" name="Oval 166">
                <a:extLst>
                  <a:ext uri="{FF2B5EF4-FFF2-40B4-BE49-F238E27FC236}">
                    <a16:creationId xmlns:a16="http://schemas.microsoft.com/office/drawing/2014/main" id="{C3EF70DD-C701-F740-AC6C-C46B1D95FA45}"/>
                  </a:ext>
                </a:extLst>
              </p:cNvPr>
              <p:cNvSpPr/>
              <p:nvPr/>
            </p:nvSpPr>
            <p:spPr>
              <a:xfrm>
                <a:off x="10397072" y="2500811"/>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Oval 167">
                <a:extLst>
                  <a:ext uri="{FF2B5EF4-FFF2-40B4-BE49-F238E27FC236}">
                    <a16:creationId xmlns:a16="http://schemas.microsoft.com/office/drawing/2014/main" id="{DE0403AE-5E99-9847-BCF5-CFC5237959D5}"/>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72" name="Group 171">
              <a:extLst>
                <a:ext uri="{FF2B5EF4-FFF2-40B4-BE49-F238E27FC236}">
                  <a16:creationId xmlns:a16="http://schemas.microsoft.com/office/drawing/2014/main" id="{7BD3F01E-D752-E64B-B6CA-221C9E0D204B}"/>
                </a:ext>
              </a:extLst>
            </p:cNvPr>
            <p:cNvGrpSpPr/>
            <p:nvPr/>
          </p:nvGrpSpPr>
          <p:grpSpPr>
            <a:xfrm>
              <a:off x="2192050" y="3051827"/>
              <a:ext cx="270762" cy="268917"/>
              <a:chOff x="10257340" y="1680054"/>
              <a:chExt cx="394878" cy="392187"/>
            </a:xfrm>
          </p:grpSpPr>
          <p:sp>
            <p:nvSpPr>
              <p:cNvPr id="173" name="Rectangle 172">
                <a:extLst>
                  <a:ext uri="{FF2B5EF4-FFF2-40B4-BE49-F238E27FC236}">
                    <a16:creationId xmlns:a16="http://schemas.microsoft.com/office/drawing/2014/main" id="{C9E07F8B-5905-AA42-A4B7-F0897C5F0357}"/>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4" name="Picture 173" descr="Image result for azure functions logo png">
                <a:extLst>
                  <a:ext uri="{FF2B5EF4-FFF2-40B4-BE49-F238E27FC236}">
                    <a16:creationId xmlns:a16="http://schemas.microsoft.com/office/drawing/2014/main" id="{07526275-E8F3-FE4F-A364-CB7C7B9325E4}"/>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5" name="Straight Arrow Connector 174">
              <a:extLst>
                <a:ext uri="{FF2B5EF4-FFF2-40B4-BE49-F238E27FC236}">
                  <a16:creationId xmlns:a16="http://schemas.microsoft.com/office/drawing/2014/main" id="{A1A34AB1-E948-DF4A-9BF6-A1AD865FEB4A}"/>
                </a:ext>
              </a:extLst>
            </p:cNvPr>
            <p:cNvCxnSpPr>
              <a:cxnSpLocks/>
            </p:cNvCxnSpPr>
            <p:nvPr/>
          </p:nvCxnSpPr>
          <p:spPr>
            <a:xfrm>
              <a:off x="1311349" y="3455770"/>
              <a:ext cx="868289"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75D599AF-CFE3-8449-AE3B-DFF9A2CE1997}"/>
                </a:ext>
              </a:extLst>
            </p:cNvPr>
            <p:cNvGrpSpPr/>
            <p:nvPr/>
          </p:nvGrpSpPr>
          <p:grpSpPr>
            <a:xfrm>
              <a:off x="6193980" y="3136889"/>
              <a:ext cx="236470" cy="234859"/>
              <a:chOff x="10257340" y="1680054"/>
              <a:chExt cx="394878" cy="392187"/>
            </a:xfrm>
          </p:grpSpPr>
          <p:sp>
            <p:nvSpPr>
              <p:cNvPr id="177" name="Rectangle 176">
                <a:extLst>
                  <a:ext uri="{FF2B5EF4-FFF2-40B4-BE49-F238E27FC236}">
                    <a16:creationId xmlns:a16="http://schemas.microsoft.com/office/drawing/2014/main" id="{AB95627C-5B43-4342-9155-2EEFCD12A741}"/>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8" name="Picture 177" descr="Image result for azure functions logo png">
                <a:extLst>
                  <a:ext uri="{FF2B5EF4-FFF2-40B4-BE49-F238E27FC236}">
                    <a16:creationId xmlns:a16="http://schemas.microsoft.com/office/drawing/2014/main" id="{1645C465-45B3-EB4D-8AE5-963ADB961C61}"/>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9" name="Group 178">
              <a:extLst>
                <a:ext uri="{FF2B5EF4-FFF2-40B4-BE49-F238E27FC236}">
                  <a16:creationId xmlns:a16="http://schemas.microsoft.com/office/drawing/2014/main" id="{8158D712-BAB8-414F-8F31-D47CBB4A2B84}"/>
                </a:ext>
              </a:extLst>
            </p:cNvPr>
            <p:cNvGrpSpPr/>
            <p:nvPr/>
          </p:nvGrpSpPr>
          <p:grpSpPr>
            <a:xfrm>
              <a:off x="8622894" y="3932080"/>
              <a:ext cx="235187" cy="387740"/>
              <a:chOff x="11023961" y="4214250"/>
              <a:chExt cx="534826" cy="881740"/>
            </a:xfrm>
          </p:grpSpPr>
          <p:sp>
            <p:nvSpPr>
              <p:cNvPr id="180" name="Rectangle: Rounded Corners 274">
                <a:extLst>
                  <a:ext uri="{FF2B5EF4-FFF2-40B4-BE49-F238E27FC236}">
                    <a16:creationId xmlns:a16="http://schemas.microsoft.com/office/drawing/2014/main" id="{4765DEE3-3AF7-074B-A464-0CD708CC8B3C}"/>
                  </a:ext>
                </a:extLst>
              </p:cNvPr>
              <p:cNvSpPr/>
              <p:nvPr/>
            </p:nvSpPr>
            <p:spPr>
              <a:xfrm>
                <a:off x="11023961" y="4214250"/>
                <a:ext cx="534826" cy="881740"/>
              </a:xfrm>
              <a:prstGeom prst="roundRect">
                <a:avLst>
                  <a:gd name="adj" fmla="val 9391"/>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Oval 180">
                <a:extLst>
                  <a:ext uri="{FF2B5EF4-FFF2-40B4-BE49-F238E27FC236}">
                    <a16:creationId xmlns:a16="http://schemas.microsoft.com/office/drawing/2014/main" id="{0CF178EE-4D64-C443-9BAD-428292318EFC}"/>
                  </a:ext>
                </a:extLst>
              </p:cNvPr>
              <p:cNvSpPr/>
              <p:nvPr/>
            </p:nvSpPr>
            <p:spPr>
              <a:xfrm>
                <a:off x="11246061" y="4917092"/>
                <a:ext cx="94270" cy="94270"/>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2" name="Straight Connector 181">
                <a:extLst>
                  <a:ext uri="{FF2B5EF4-FFF2-40B4-BE49-F238E27FC236}">
                    <a16:creationId xmlns:a16="http://schemas.microsoft.com/office/drawing/2014/main" id="{3249D7E8-6870-4040-8C99-CA34B18375CA}"/>
                  </a:ext>
                </a:extLst>
              </p:cNvPr>
              <p:cNvCxnSpPr/>
              <p:nvPr/>
            </p:nvCxnSpPr>
            <p:spPr>
              <a:xfrm>
                <a:off x="11214638" y="4279319"/>
                <a:ext cx="157117"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pic>
            <p:nvPicPr>
              <p:cNvPr id="183" name="Graphic 163">
                <a:extLst>
                  <a:ext uri="{FF2B5EF4-FFF2-40B4-BE49-F238E27FC236}">
                    <a16:creationId xmlns:a16="http://schemas.microsoft.com/office/drawing/2014/main" id="{78B54CEB-4ED5-8241-84BD-5CF76632469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61059" y="4483595"/>
                <a:ext cx="261907" cy="261907"/>
              </a:xfrm>
              <a:prstGeom prst="rect">
                <a:avLst/>
              </a:prstGeom>
            </p:spPr>
          </p:pic>
          <p:sp>
            <p:nvSpPr>
              <p:cNvPr id="184" name="Oval 183">
                <a:extLst>
                  <a:ext uri="{FF2B5EF4-FFF2-40B4-BE49-F238E27FC236}">
                    <a16:creationId xmlns:a16="http://schemas.microsoft.com/office/drawing/2014/main" id="{D4281ECF-D6B6-5242-ABC3-5C1DEAC577EF}"/>
                  </a:ext>
                </a:extLst>
              </p:cNvPr>
              <p:cNvSpPr/>
              <p:nvPr/>
            </p:nvSpPr>
            <p:spPr>
              <a:xfrm rot="10800000" flipV="1">
                <a:off x="11116077" y="4651127"/>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5" name="Group 184">
              <a:extLst>
                <a:ext uri="{FF2B5EF4-FFF2-40B4-BE49-F238E27FC236}">
                  <a16:creationId xmlns:a16="http://schemas.microsoft.com/office/drawing/2014/main" id="{4B22C918-E14C-A64F-8565-AE4734F38FA7}"/>
                </a:ext>
              </a:extLst>
            </p:cNvPr>
            <p:cNvGrpSpPr/>
            <p:nvPr/>
          </p:nvGrpSpPr>
          <p:grpSpPr>
            <a:xfrm>
              <a:off x="8622894" y="2457206"/>
              <a:ext cx="235187" cy="387740"/>
              <a:chOff x="11023961" y="4214250"/>
              <a:chExt cx="534826" cy="881740"/>
            </a:xfrm>
          </p:grpSpPr>
          <p:sp>
            <p:nvSpPr>
              <p:cNvPr id="186" name="Rectangle: Rounded Corners 274">
                <a:extLst>
                  <a:ext uri="{FF2B5EF4-FFF2-40B4-BE49-F238E27FC236}">
                    <a16:creationId xmlns:a16="http://schemas.microsoft.com/office/drawing/2014/main" id="{6EBEA727-5F50-FC40-A45E-79795C3F4933}"/>
                  </a:ext>
                </a:extLst>
              </p:cNvPr>
              <p:cNvSpPr/>
              <p:nvPr/>
            </p:nvSpPr>
            <p:spPr>
              <a:xfrm>
                <a:off x="11023961" y="4214250"/>
                <a:ext cx="534826" cy="881740"/>
              </a:xfrm>
              <a:prstGeom prst="roundRect">
                <a:avLst>
                  <a:gd name="adj" fmla="val 9391"/>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7" name="Oval 186">
                <a:extLst>
                  <a:ext uri="{FF2B5EF4-FFF2-40B4-BE49-F238E27FC236}">
                    <a16:creationId xmlns:a16="http://schemas.microsoft.com/office/drawing/2014/main" id="{501C45B6-1534-A14A-8B8D-7869D8976EF9}"/>
                  </a:ext>
                </a:extLst>
              </p:cNvPr>
              <p:cNvSpPr/>
              <p:nvPr/>
            </p:nvSpPr>
            <p:spPr>
              <a:xfrm>
                <a:off x="11246061" y="4917092"/>
                <a:ext cx="94270" cy="94270"/>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8" name="Straight Connector 187">
                <a:extLst>
                  <a:ext uri="{FF2B5EF4-FFF2-40B4-BE49-F238E27FC236}">
                    <a16:creationId xmlns:a16="http://schemas.microsoft.com/office/drawing/2014/main" id="{315B06FC-4E5E-3249-8954-34BC7209A0CC}"/>
                  </a:ext>
                </a:extLst>
              </p:cNvPr>
              <p:cNvCxnSpPr/>
              <p:nvPr/>
            </p:nvCxnSpPr>
            <p:spPr>
              <a:xfrm>
                <a:off x="11214638" y="4279319"/>
                <a:ext cx="157117"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pic>
            <p:nvPicPr>
              <p:cNvPr id="189" name="Graphic 163">
                <a:extLst>
                  <a:ext uri="{FF2B5EF4-FFF2-40B4-BE49-F238E27FC236}">
                    <a16:creationId xmlns:a16="http://schemas.microsoft.com/office/drawing/2014/main" id="{3C72C0CF-0E7A-0143-BD18-66648708D40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61059" y="4483595"/>
                <a:ext cx="261907" cy="261907"/>
              </a:xfrm>
              <a:prstGeom prst="rect">
                <a:avLst/>
              </a:prstGeom>
            </p:spPr>
          </p:pic>
          <p:sp>
            <p:nvSpPr>
              <p:cNvPr id="190" name="Oval 189">
                <a:extLst>
                  <a:ext uri="{FF2B5EF4-FFF2-40B4-BE49-F238E27FC236}">
                    <a16:creationId xmlns:a16="http://schemas.microsoft.com/office/drawing/2014/main" id="{334FF574-2657-5147-A779-D43E0BEFCD48}"/>
                  </a:ext>
                </a:extLst>
              </p:cNvPr>
              <p:cNvSpPr/>
              <p:nvPr/>
            </p:nvSpPr>
            <p:spPr>
              <a:xfrm rot="10800000" flipV="1">
                <a:off x="11116077" y="4651127"/>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1" name="TextBox 190">
              <a:extLst>
                <a:ext uri="{FF2B5EF4-FFF2-40B4-BE49-F238E27FC236}">
                  <a16:creationId xmlns:a16="http://schemas.microsoft.com/office/drawing/2014/main" id="{7C0844AA-DBE5-0444-941D-7908865A3AF6}"/>
                </a:ext>
              </a:extLst>
            </p:cNvPr>
            <p:cNvSpPr txBox="1"/>
            <p:nvPr/>
          </p:nvSpPr>
          <p:spPr>
            <a:xfrm>
              <a:off x="346630" y="4529524"/>
              <a:ext cx="147986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lvl="0" defTabSz="457200">
                <a:defRPr/>
              </a:pPr>
              <a:r>
                <a:rPr lang="en-US" sz="1200">
                  <a:solidFill>
                    <a:schemeClr val="tx1"/>
                  </a:solidFill>
                  <a:latin typeface="+mn-lt"/>
                </a:rPr>
                <a:t>HTTP API call </a:t>
              </a:r>
              <a:br>
                <a:rPr lang="en-US" sz="1200">
                  <a:solidFill>
                    <a:schemeClr val="tx1"/>
                  </a:solidFill>
                  <a:latin typeface="+mn-lt"/>
                </a:rPr>
              </a:br>
              <a:r>
                <a:rPr lang="en-US" sz="1200">
                  <a:solidFill>
                    <a:schemeClr val="tx1"/>
                  </a:solidFill>
                  <a:latin typeface="+mn-lt"/>
                </a:rPr>
                <a:t>from a mobile app</a:t>
              </a:r>
            </a:p>
          </p:txBody>
        </p:sp>
      </p:gr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pic>
        <p:nvPicPr>
          <p:cNvPr id="92" name="Picture 91" descr="A person standing in front of a building&#10;&#10;Description generated with very high confidence">
            <a:extLst>
              <a:ext uri="{FF2B5EF4-FFF2-40B4-BE49-F238E27FC236}">
                <a16:creationId xmlns:a16="http://schemas.microsoft.com/office/drawing/2014/main" id="{B4C1E578-17F6-A64C-8D53-779DE297E74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150475" y="0"/>
            <a:ext cx="2286000" cy="6995160"/>
          </a:xfrm>
          <a:prstGeom prst="rect">
            <a:avLst/>
          </a:prstGeom>
        </p:spPr>
      </p:pic>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7640671" cy="1074900"/>
          </a:xfrm>
        </p:spPr>
        <p:txBody>
          <a:bodyPr/>
          <a:lstStyle/>
          <a:p>
            <a:pPr defTabSz="457200">
              <a:lnSpc>
                <a:spcPct val="100000"/>
              </a:lnSpc>
              <a:spcAft>
                <a:spcPts val="0"/>
              </a:spcAft>
              <a:buSzTx/>
              <a:defRPr/>
            </a:pPr>
            <a:r>
              <a:rPr lang="en-US" sz="1800">
                <a:solidFill>
                  <a:schemeClr val="tx1"/>
                </a:solidFill>
                <a:cs typeface="Segoe UI Light" panose="020B0502040204020203" pitchFamily="34" charset="0"/>
              </a:rPr>
              <a:t>Colleagues use mobile banking to reimburse each other for lunch: the person who paid for lunch requests payment through his mobile app, triggering a notification on his colleagues’ phones.</a:t>
            </a:r>
          </a:p>
          <a:p>
            <a:pPr lvl="0"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chor="t">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Financial Services</a:t>
            </a:r>
          </a:p>
        </p:txBody>
      </p:sp>
    </p:spTree>
    <p:extLst>
      <p:ext uri="{BB962C8B-B14F-4D97-AF65-F5344CB8AC3E}">
        <p14:creationId xmlns:p14="http://schemas.microsoft.com/office/powerpoint/2010/main" val="33277452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p:txBody>
          <a:bodyPr/>
          <a:lstStyle/>
          <a:p>
            <a:r>
              <a:rPr lang="en-US"/>
              <a:t>IoT-connected backends</a:t>
            </a:r>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916905"/>
          </a:xfrm>
        </p:spPr>
        <p:txBody>
          <a:bodyPr/>
          <a:lstStyle/>
          <a:p>
            <a:pPr defTabSz="457200">
              <a:lnSpc>
                <a:spcPct val="100000"/>
              </a:lnSpc>
              <a:spcAft>
                <a:spcPts val="0"/>
              </a:spcAft>
              <a:buSzTx/>
              <a:defRPr/>
            </a:pPr>
            <a:r>
              <a:rPr lang="en-US" sz="1800">
                <a:solidFill>
                  <a:schemeClr val="tx1"/>
                </a:solidFill>
                <a:cs typeface="Segoe UI Light" panose="020B0502040204020203" pitchFamily="34" charset="0"/>
              </a:rPr>
              <a:t>A manufacturing company uses IoT to monitor its machines. Functions detects anomalous data and triggers a message to Service department when repair is required.</a:t>
            </a:r>
          </a:p>
          <a:p>
            <a:pPr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Manufacturing</a:t>
            </a:r>
          </a:p>
        </p:txBody>
      </p:sp>
      <p:pic>
        <p:nvPicPr>
          <p:cNvPr id="93" name="Picture 92" descr="A large pot&#10;&#10;Description generated with high confidence">
            <a:extLst>
              <a:ext uri="{FF2B5EF4-FFF2-40B4-BE49-F238E27FC236}">
                <a16:creationId xmlns:a16="http://schemas.microsoft.com/office/drawing/2014/main" id="{F53C0A4D-4906-9549-B458-772AA2843AF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66278" y="-635"/>
            <a:ext cx="2279798" cy="6995160"/>
          </a:xfrm>
          <a:prstGeom prst="rect">
            <a:avLst/>
          </a:prstGeom>
        </p:spPr>
      </p:pic>
      <p:grpSp>
        <p:nvGrpSpPr>
          <p:cNvPr id="2" name="Group 1">
            <a:extLst>
              <a:ext uri="{FF2B5EF4-FFF2-40B4-BE49-F238E27FC236}">
                <a16:creationId xmlns:a16="http://schemas.microsoft.com/office/drawing/2014/main" id="{3874835D-EBB2-0041-8971-22B64CC6919D}"/>
              </a:ext>
            </a:extLst>
          </p:cNvPr>
          <p:cNvGrpSpPr/>
          <p:nvPr/>
        </p:nvGrpSpPr>
        <p:grpSpPr>
          <a:xfrm>
            <a:off x="434974" y="2654190"/>
            <a:ext cx="9260425" cy="3864195"/>
            <a:chOff x="233797" y="2807782"/>
            <a:chExt cx="9693055" cy="4044723"/>
          </a:xfrm>
        </p:grpSpPr>
        <p:sp>
          <p:nvSpPr>
            <p:cNvPr id="94" name="Rectangle: Rounded Corners 210">
              <a:extLst>
                <a:ext uri="{FF2B5EF4-FFF2-40B4-BE49-F238E27FC236}">
                  <a16:creationId xmlns:a16="http://schemas.microsoft.com/office/drawing/2014/main" id="{9816F0A1-449D-4F4E-A40E-AC9D9825FF80}"/>
                </a:ext>
              </a:extLst>
            </p:cNvPr>
            <p:cNvSpPr/>
            <p:nvPr/>
          </p:nvSpPr>
          <p:spPr>
            <a:xfrm>
              <a:off x="4455415" y="5257787"/>
              <a:ext cx="765073" cy="762013"/>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5" name="Group 94">
              <a:extLst>
                <a:ext uri="{FF2B5EF4-FFF2-40B4-BE49-F238E27FC236}">
                  <a16:creationId xmlns:a16="http://schemas.microsoft.com/office/drawing/2014/main" id="{DF03D3E0-4AB9-7F42-9A3E-CEDD7408B0AF}"/>
                </a:ext>
              </a:extLst>
            </p:cNvPr>
            <p:cNvGrpSpPr/>
            <p:nvPr/>
          </p:nvGrpSpPr>
          <p:grpSpPr>
            <a:xfrm>
              <a:off x="4177243" y="4979549"/>
              <a:ext cx="537240" cy="533578"/>
              <a:chOff x="10257340" y="1680054"/>
              <a:chExt cx="394878" cy="392187"/>
            </a:xfrm>
          </p:grpSpPr>
          <p:sp>
            <p:nvSpPr>
              <p:cNvPr id="96" name="Rectangle 95">
                <a:extLst>
                  <a:ext uri="{FF2B5EF4-FFF2-40B4-BE49-F238E27FC236}">
                    <a16:creationId xmlns:a16="http://schemas.microsoft.com/office/drawing/2014/main" id="{335F437F-1924-6B47-9832-B8A147B9CC70}"/>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7" name="Picture 96" descr="Image result for azure functions logo png">
                <a:extLst>
                  <a:ext uri="{FF2B5EF4-FFF2-40B4-BE49-F238E27FC236}">
                    <a16:creationId xmlns:a16="http://schemas.microsoft.com/office/drawing/2014/main" id="{49872D8A-3D3D-A841-AD12-B4B4A0D3C630}"/>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1" name="Straight Arrow Connector 100">
              <a:extLst>
                <a:ext uri="{FF2B5EF4-FFF2-40B4-BE49-F238E27FC236}">
                  <a16:creationId xmlns:a16="http://schemas.microsoft.com/office/drawing/2014/main" id="{95606E05-BEA8-6F4C-B084-826241CC59A6}"/>
                </a:ext>
              </a:extLst>
            </p:cNvPr>
            <p:cNvCxnSpPr>
              <a:cxnSpLocks/>
            </p:cNvCxnSpPr>
            <p:nvPr/>
          </p:nvCxnSpPr>
          <p:spPr>
            <a:xfrm>
              <a:off x="2698288" y="5628606"/>
              <a:ext cx="1656492"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E6B44043-F695-E644-8891-495B4926156B}"/>
                </a:ext>
              </a:extLst>
            </p:cNvPr>
            <p:cNvSpPr/>
            <p:nvPr/>
          </p:nvSpPr>
          <p:spPr>
            <a:xfrm>
              <a:off x="2584723" y="5748755"/>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Freeform: Shape 168">
              <a:extLst>
                <a:ext uri="{FF2B5EF4-FFF2-40B4-BE49-F238E27FC236}">
                  <a16:creationId xmlns:a16="http://schemas.microsoft.com/office/drawing/2014/main" id="{4FBE5FB7-6A0D-CB44-8AC0-87490F940F90}"/>
                </a:ext>
              </a:extLst>
            </p:cNvPr>
            <p:cNvSpPr/>
            <p:nvPr/>
          </p:nvSpPr>
          <p:spPr>
            <a:xfrm flipH="1" flipV="1">
              <a:off x="567787" y="3353736"/>
              <a:ext cx="1548236" cy="869313"/>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Oval 144">
              <a:extLst>
                <a:ext uri="{FF2B5EF4-FFF2-40B4-BE49-F238E27FC236}">
                  <a16:creationId xmlns:a16="http://schemas.microsoft.com/office/drawing/2014/main" id="{0EFE4406-9F41-9549-A00D-E4AB1B54C897}"/>
                </a:ext>
              </a:extLst>
            </p:cNvPr>
            <p:cNvSpPr/>
            <p:nvPr/>
          </p:nvSpPr>
          <p:spPr>
            <a:xfrm>
              <a:off x="1366658" y="430739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Oval 145">
              <a:extLst>
                <a:ext uri="{FF2B5EF4-FFF2-40B4-BE49-F238E27FC236}">
                  <a16:creationId xmlns:a16="http://schemas.microsoft.com/office/drawing/2014/main" id="{9F407CE0-6595-A245-BF3E-C99188CA079B}"/>
                </a:ext>
              </a:extLst>
            </p:cNvPr>
            <p:cNvSpPr/>
            <p:nvPr/>
          </p:nvSpPr>
          <p:spPr>
            <a:xfrm>
              <a:off x="1513345" y="4335669"/>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FCEE1108-4494-7247-BC49-D46DFB61E5C7}"/>
                </a:ext>
              </a:extLst>
            </p:cNvPr>
            <p:cNvSpPr/>
            <p:nvPr/>
          </p:nvSpPr>
          <p:spPr>
            <a:xfrm>
              <a:off x="1255447" y="42809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Oval 147">
              <a:extLst>
                <a:ext uri="{FF2B5EF4-FFF2-40B4-BE49-F238E27FC236}">
                  <a16:creationId xmlns:a16="http://schemas.microsoft.com/office/drawing/2014/main" id="{CB8E184A-C50A-E145-994B-280EE82E8838}"/>
                </a:ext>
              </a:extLst>
            </p:cNvPr>
            <p:cNvSpPr/>
            <p:nvPr/>
          </p:nvSpPr>
          <p:spPr>
            <a:xfrm>
              <a:off x="1144238" y="4257333"/>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5" name="Oval 154">
              <a:extLst>
                <a:ext uri="{FF2B5EF4-FFF2-40B4-BE49-F238E27FC236}">
                  <a16:creationId xmlns:a16="http://schemas.microsoft.com/office/drawing/2014/main" id="{72DE8677-D91A-3D47-845F-EB56C1F0CFB4}"/>
                </a:ext>
              </a:extLst>
            </p:cNvPr>
            <p:cNvSpPr/>
            <p:nvPr/>
          </p:nvSpPr>
          <p:spPr>
            <a:xfrm>
              <a:off x="1893839" y="4439034"/>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Oval 155">
              <a:extLst>
                <a:ext uri="{FF2B5EF4-FFF2-40B4-BE49-F238E27FC236}">
                  <a16:creationId xmlns:a16="http://schemas.microsoft.com/office/drawing/2014/main" id="{B4AFED0D-8FB4-5949-ACAE-FA5CAB34E817}"/>
                </a:ext>
              </a:extLst>
            </p:cNvPr>
            <p:cNvSpPr/>
            <p:nvPr/>
          </p:nvSpPr>
          <p:spPr>
            <a:xfrm>
              <a:off x="1683807" y="4377947"/>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 name="Oval 156">
              <a:extLst>
                <a:ext uri="{FF2B5EF4-FFF2-40B4-BE49-F238E27FC236}">
                  <a16:creationId xmlns:a16="http://schemas.microsoft.com/office/drawing/2014/main" id="{D6C1678B-9185-DE47-BDA5-9777E0E45346}"/>
                </a:ext>
              </a:extLst>
            </p:cNvPr>
            <p:cNvSpPr/>
            <p:nvPr/>
          </p:nvSpPr>
          <p:spPr>
            <a:xfrm>
              <a:off x="2102114" y="4543100"/>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8" name="Oval 157">
              <a:extLst>
                <a:ext uri="{FF2B5EF4-FFF2-40B4-BE49-F238E27FC236}">
                  <a16:creationId xmlns:a16="http://schemas.microsoft.com/office/drawing/2014/main" id="{AA45AFF5-113C-C54F-BC59-A84701C8E24E}"/>
                </a:ext>
              </a:extLst>
            </p:cNvPr>
            <p:cNvSpPr/>
            <p:nvPr/>
          </p:nvSpPr>
          <p:spPr>
            <a:xfrm>
              <a:off x="2233934" y="4750734"/>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Oval 158">
              <a:extLst>
                <a:ext uri="{FF2B5EF4-FFF2-40B4-BE49-F238E27FC236}">
                  <a16:creationId xmlns:a16="http://schemas.microsoft.com/office/drawing/2014/main" id="{A08C79DA-5B23-6C4C-B348-FB98453DBA6E}"/>
                </a:ext>
              </a:extLst>
            </p:cNvPr>
            <p:cNvSpPr/>
            <p:nvPr/>
          </p:nvSpPr>
          <p:spPr>
            <a:xfrm>
              <a:off x="2290456" y="4884017"/>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Freeform: Shape 178">
              <a:extLst>
                <a:ext uri="{FF2B5EF4-FFF2-40B4-BE49-F238E27FC236}">
                  <a16:creationId xmlns:a16="http://schemas.microsoft.com/office/drawing/2014/main" id="{F3627138-7825-4748-A6EB-EC2A2037EF6D}"/>
                </a:ext>
              </a:extLst>
            </p:cNvPr>
            <p:cNvSpPr/>
            <p:nvPr/>
          </p:nvSpPr>
          <p:spPr>
            <a:xfrm>
              <a:off x="1037514" y="4338403"/>
              <a:ext cx="1147306" cy="388596"/>
            </a:xfrm>
            <a:custGeom>
              <a:avLst/>
              <a:gdLst>
                <a:gd name="connsiteX0" fmla="*/ 0 w 1200150"/>
                <a:gd name="connsiteY0" fmla="*/ 0 h 561975"/>
                <a:gd name="connsiteX1" fmla="*/ 914400 w 1200150"/>
                <a:gd name="connsiteY1" fmla="*/ 295275 h 561975"/>
                <a:gd name="connsiteX2" fmla="*/ 1200150 w 1200150"/>
                <a:gd name="connsiteY2" fmla="*/ 561975 h 561975"/>
              </a:gdLst>
              <a:ahLst/>
              <a:cxnLst>
                <a:cxn ang="0">
                  <a:pos x="connsiteX0" y="connsiteY0"/>
                </a:cxn>
                <a:cxn ang="0">
                  <a:pos x="connsiteX1" y="connsiteY1"/>
                </a:cxn>
                <a:cxn ang="0">
                  <a:pos x="connsiteX2" y="connsiteY2"/>
                </a:cxn>
              </a:cxnLst>
              <a:rect l="l" t="t" r="r" b="b"/>
              <a:pathLst>
                <a:path w="1200150" h="561975">
                  <a:moveTo>
                    <a:pt x="0" y="0"/>
                  </a:moveTo>
                  <a:cubicBezTo>
                    <a:pt x="357187" y="100806"/>
                    <a:pt x="714375" y="201613"/>
                    <a:pt x="914400" y="295275"/>
                  </a:cubicBezTo>
                  <a:cubicBezTo>
                    <a:pt x="1114425" y="388937"/>
                    <a:pt x="1157287" y="475456"/>
                    <a:pt x="1200150" y="561975"/>
                  </a:cubicBez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Oval 164">
              <a:extLst>
                <a:ext uri="{FF2B5EF4-FFF2-40B4-BE49-F238E27FC236}">
                  <a16:creationId xmlns:a16="http://schemas.microsoft.com/office/drawing/2014/main" id="{B01F4E18-57E9-3341-ADDC-1779DCE9335C}"/>
                </a:ext>
              </a:extLst>
            </p:cNvPr>
            <p:cNvSpPr/>
            <p:nvPr/>
          </p:nvSpPr>
          <p:spPr>
            <a:xfrm>
              <a:off x="1820706"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Oval 168">
              <a:extLst>
                <a:ext uri="{FF2B5EF4-FFF2-40B4-BE49-F238E27FC236}">
                  <a16:creationId xmlns:a16="http://schemas.microsoft.com/office/drawing/2014/main" id="{BD211BA7-ECE5-9547-982D-0B985EE837A4}"/>
                </a:ext>
              </a:extLst>
            </p:cNvPr>
            <p:cNvSpPr/>
            <p:nvPr/>
          </p:nvSpPr>
          <p:spPr>
            <a:xfrm>
              <a:off x="1916207"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Oval 169">
              <a:extLst>
                <a:ext uri="{FF2B5EF4-FFF2-40B4-BE49-F238E27FC236}">
                  <a16:creationId xmlns:a16="http://schemas.microsoft.com/office/drawing/2014/main" id="{6BFF64E0-077C-8041-945E-135C4EAC90AE}"/>
                </a:ext>
              </a:extLst>
            </p:cNvPr>
            <p:cNvSpPr/>
            <p:nvPr/>
          </p:nvSpPr>
          <p:spPr>
            <a:xfrm>
              <a:off x="2011710"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Oval 170">
              <a:extLst>
                <a:ext uri="{FF2B5EF4-FFF2-40B4-BE49-F238E27FC236}">
                  <a16:creationId xmlns:a16="http://schemas.microsoft.com/office/drawing/2014/main" id="{C7E1A1B9-69B7-E448-B433-2CCCAD86A1C7}"/>
                </a:ext>
              </a:extLst>
            </p:cNvPr>
            <p:cNvSpPr/>
            <p:nvPr/>
          </p:nvSpPr>
          <p:spPr>
            <a:xfrm>
              <a:off x="2107211"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Oval 191">
              <a:extLst>
                <a:ext uri="{FF2B5EF4-FFF2-40B4-BE49-F238E27FC236}">
                  <a16:creationId xmlns:a16="http://schemas.microsoft.com/office/drawing/2014/main" id="{B46E8B71-DCCA-104E-B4B6-E5F329E14BEB}"/>
                </a:ext>
              </a:extLst>
            </p:cNvPr>
            <p:cNvSpPr/>
            <p:nvPr/>
          </p:nvSpPr>
          <p:spPr>
            <a:xfrm>
              <a:off x="2202714"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Oval 192">
              <a:extLst>
                <a:ext uri="{FF2B5EF4-FFF2-40B4-BE49-F238E27FC236}">
                  <a16:creationId xmlns:a16="http://schemas.microsoft.com/office/drawing/2014/main" id="{D4E31896-74F3-0643-869E-C84368ABB468}"/>
                </a:ext>
              </a:extLst>
            </p:cNvPr>
            <p:cNvSpPr/>
            <p:nvPr/>
          </p:nvSpPr>
          <p:spPr>
            <a:xfrm>
              <a:off x="2298215"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01976785-09C4-BC4A-81FE-48BBC28882F7}"/>
                </a:ext>
              </a:extLst>
            </p:cNvPr>
            <p:cNvSpPr/>
            <p:nvPr/>
          </p:nvSpPr>
          <p:spPr>
            <a:xfrm>
              <a:off x="2393718"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AA7B7C94-5173-4042-8459-840357F63803}"/>
                </a:ext>
              </a:extLst>
            </p:cNvPr>
            <p:cNvSpPr/>
            <p:nvPr/>
          </p:nvSpPr>
          <p:spPr>
            <a:xfrm>
              <a:off x="2489219"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6322308D-6F56-FD43-90DE-68105223151F}"/>
                </a:ext>
              </a:extLst>
            </p:cNvPr>
            <p:cNvSpPr/>
            <p:nvPr/>
          </p:nvSpPr>
          <p:spPr>
            <a:xfrm>
              <a:off x="2584722"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7" name="Oval 196">
              <a:extLst>
                <a:ext uri="{FF2B5EF4-FFF2-40B4-BE49-F238E27FC236}">
                  <a16:creationId xmlns:a16="http://schemas.microsoft.com/office/drawing/2014/main" id="{C28A93DD-A2DC-AB4D-8785-2BA8DAF4D35A}"/>
                </a:ext>
              </a:extLst>
            </p:cNvPr>
            <p:cNvSpPr/>
            <p:nvPr/>
          </p:nvSpPr>
          <p:spPr>
            <a:xfrm>
              <a:off x="1867910"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8" name="Oval 197">
              <a:extLst>
                <a:ext uri="{FF2B5EF4-FFF2-40B4-BE49-F238E27FC236}">
                  <a16:creationId xmlns:a16="http://schemas.microsoft.com/office/drawing/2014/main" id="{53342007-AEDC-CF46-9401-793A6D6C228C}"/>
                </a:ext>
              </a:extLst>
            </p:cNvPr>
            <p:cNvSpPr/>
            <p:nvPr/>
          </p:nvSpPr>
          <p:spPr>
            <a:xfrm>
              <a:off x="1963411"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9" name="Oval 198">
              <a:extLst>
                <a:ext uri="{FF2B5EF4-FFF2-40B4-BE49-F238E27FC236}">
                  <a16:creationId xmlns:a16="http://schemas.microsoft.com/office/drawing/2014/main" id="{56FC8B49-956E-794D-BF35-76D05A0B94A7}"/>
                </a:ext>
              </a:extLst>
            </p:cNvPr>
            <p:cNvSpPr/>
            <p:nvPr/>
          </p:nvSpPr>
          <p:spPr>
            <a:xfrm>
              <a:off x="2058914"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0" name="Oval 199">
              <a:extLst>
                <a:ext uri="{FF2B5EF4-FFF2-40B4-BE49-F238E27FC236}">
                  <a16:creationId xmlns:a16="http://schemas.microsoft.com/office/drawing/2014/main" id="{4FCA4759-FE9C-0D46-889A-7383C41AF48D}"/>
                </a:ext>
              </a:extLst>
            </p:cNvPr>
            <p:cNvSpPr/>
            <p:nvPr/>
          </p:nvSpPr>
          <p:spPr>
            <a:xfrm>
              <a:off x="2154415"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1" name="Oval 200">
              <a:extLst>
                <a:ext uri="{FF2B5EF4-FFF2-40B4-BE49-F238E27FC236}">
                  <a16:creationId xmlns:a16="http://schemas.microsoft.com/office/drawing/2014/main" id="{5C3AD02C-086E-7544-BF93-071F4C405149}"/>
                </a:ext>
              </a:extLst>
            </p:cNvPr>
            <p:cNvSpPr/>
            <p:nvPr/>
          </p:nvSpPr>
          <p:spPr>
            <a:xfrm>
              <a:off x="2249918"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2" name="Oval 201">
              <a:extLst>
                <a:ext uri="{FF2B5EF4-FFF2-40B4-BE49-F238E27FC236}">
                  <a16:creationId xmlns:a16="http://schemas.microsoft.com/office/drawing/2014/main" id="{A21B3DFF-6EDC-A642-9AF1-1A263C8734FE}"/>
                </a:ext>
              </a:extLst>
            </p:cNvPr>
            <p:cNvSpPr/>
            <p:nvPr/>
          </p:nvSpPr>
          <p:spPr>
            <a:xfrm>
              <a:off x="2345419"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3" name="Oval 202">
              <a:extLst>
                <a:ext uri="{FF2B5EF4-FFF2-40B4-BE49-F238E27FC236}">
                  <a16:creationId xmlns:a16="http://schemas.microsoft.com/office/drawing/2014/main" id="{3A03B616-5C32-444B-AB54-06CB8F6DB81D}"/>
                </a:ext>
              </a:extLst>
            </p:cNvPr>
            <p:cNvSpPr/>
            <p:nvPr/>
          </p:nvSpPr>
          <p:spPr>
            <a:xfrm>
              <a:off x="2440922"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4" name="Oval 203">
              <a:extLst>
                <a:ext uri="{FF2B5EF4-FFF2-40B4-BE49-F238E27FC236}">
                  <a16:creationId xmlns:a16="http://schemas.microsoft.com/office/drawing/2014/main" id="{FEE19A17-E231-E146-8C55-A30380DEF546}"/>
                </a:ext>
              </a:extLst>
            </p:cNvPr>
            <p:cNvSpPr/>
            <p:nvPr/>
          </p:nvSpPr>
          <p:spPr>
            <a:xfrm>
              <a:off x="2536423"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 name="Oval 204">
              <a:extLst>
                <a:ext uri="{FF2B5EF4-FFF2-40B4-BE49-F238E27FC236}">
                  <a16:creationId xmlns:a16="http://schemas.microsoft.com/office/drawing/2014/main" id="{EDE0D41F-ED76-3E48-9543-0E7749025BD6}"/>
                </a:ext>
              </a:extLst>
            </p:cNvPr>
            <p:cNvSpPr/>
            <p:nvPr/>
          </p:nvSpPr>
          <p:spPr>
            <a:xfrm>
              <a:off x="2107211"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6" name="Oval 205">
              <a:extLst>
                <a:ext uri="{FF2B5EF4-FFF2-40B4-BE49-F238E27FC236}">
                  <a16:creationId xmlns:a16="http://schemas.microsoft.com/office/drawing/2014/main" id="{04D7A82A-57BB-E747-B099-D8F2B584FF70}"/>
                </a:ext>
              </a:extLst>
            </p:cNvPr>
            <p:cNvSpPr/>
            <p:nvPr/>
          </p:nvSpPr>
          <p:spPr>
            <a:xfrm>
              <a:off x="2202714"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7" name="Oval 206">
              <a:extLst>
                <a:ext uri="{FF2B5EF4-FFF2-40B4-BE49-F238E27FC236}">
                  <a16:creationId xmlns:a16="http://schemas.microsoft.com/office/drawing/2014/main" id="{C9B62B8C-392E-8547-97D1-0C1E1C4A6DED}"/>
                </a:ext>
              </a:extLst>
            </p:cNvPr>
            <p:cNvSpPr/>
            <p:nvPr/>
          </p:nvSpPr>
          <p:spPr>
            <a:xfrm>
              <a:off x="2298215"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2A0F5D17-5CC4-D94E-8080-99C273464D40}"/>
                </a:ext>
              </a:extLst>
            </p:cNvPr>
            <p:cNvSpPr/>
            <p:nvPr/>
          </p:nvSpPr>
          <p:spPr>
            <a:xfrm>
              <a:off x="2393718"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9" name="Oval 208">
              <a:extLst>
                <a:ext uri="{FF2B5EF4-FFF2-40B4-BE49-F238E27FC236}">
                  <a16:creationId xmlns:a16="http://schemas.microsoft.com/office/drawing/2014/main" id="{2F0B6BB6-0F0E-A840-A3C5-88C4A7918AAA}"/>
                </a:ext>
              </a:extLst>
            </p:cNvPr>
            <p:cNvSpPr/>
            <p:nvPr/>
          </p:nvSpPr>
          <p:spPr>
            <a:xfrm>
              <a:off x="2489219"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0" name="Oval 209">
              <a:extLst>
                <a:ext uri="{FF2B5EF4-FFF2-40B4-BE49-F238E27FC236}">
                  <a16:creationId xmlns:a16="http://schemas.microsoft.com/office/drawing/2014/main" id="{2D442EF4-3B88-6244-8707-568326E3F840}"/>
                </a:ext>
              </a:extLst>
            </p:cNvPr>
            <p:cNvSpPr/>
            <p:nvPr/>
          </p:nvSpPr>
          <p:spPr>
            <a:xfrm>
              <a:off x="2153316" y="5669719"/>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8F128BA9-73E9-2C4C-A2D8-F4F209AFB45A}"/>
                </a:ext>
              </a:extLst>
            </p:cNvPr>
            <p:cNvSpPr/>
            <p:nvPr/>
          </p:nvSpPr>
          <p:spPr>
            <a:xfrm>
              <a:off x="2248818"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2" name="Oval 211">
              <a:extLst>
                <a:ext uri="{FF2B5EF4-FFF2-40B4-BE49-F238E27FC236}">
                  <a16:creationId xmlns:a16="http://schemas.microsoft.com/office/drawing/2014/main" id="{F0A5EDAF-7E89-A74B-B434-DAC57BCA17B1}"/>
                </a:ext>
              </a:extLst>
            </p:cNvPr>
            <p:cNvSpPr/>
            <p:nvPr/>
          </p:nvSpPr>
          <p:spPr>
            <a:xfrm>
              <a:off x="2344320"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3" name="Oval 212">
              <a:extLst>
                <a:ext uri="{FF2B5EF4-FFF2-40B4-BE49-F238E27FC236}">
                  <a16:creationId xmlns:a16="http://schemas.microsoft.com/office/drawing/2014/main" id="{A4DEFD6C-7CA0-E142-B0FB-BDDBAEA685C5}"/>
                </a:ext>
              </a:extLst>
            </p:cNvPr>
            <p:cNvSpPr/>
            <p:nvPr/>
          </p:nvSpPr>
          <p:spPr>
            <a:xfrm>
              <a:off x="2439822"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4" name="Oval 213">
              <a:extLst>
                <a:ext uri="{FF2B5EF4-FFF2-40B4-BE49-F238E27FC236}">
                  <a16:creationId xmlns:a16="http://schemas.microsoft.com/office/drawing/2014/main" id="{1657122F-DFED-4A46-AA22-B35599930336}"/>
                </a:ext>
              </a:extLst>
            </p:cNvPr>
            <p:cNvSpPr/>
            <p:nvPr/>
          </p:nvSpPr>
          <p:spPr>
            <a:xfrm>
              <a:off x="2202713"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5" name="Oval 214">
              <a:extLst>
                <a:ext uri="{FF2B5EF4-FFF2-40B4-BE49-F238E27FC236}">
                  <a16:creationId xmlns:a16="http://schemas.microsoft.com/office/drawing/2014/main" id="{463BED6C-1ADA-E64A-B655-B9BE041097B5}"/>
                </a:ext>
              </a:extLst>
            </p:cNvPr>
            <p:cNvSpPr/>
            <p:nvPr/>
          </p:nvSpPr>
          <p:spPr>
            <a:xfrm>
              <a:off x="2298215"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6" name="Oval 215">
              <a:extLst>
                <a:ext uri="{FF2B5EF4-FFF2-40B4-BE49-F238E27FC236}">
                  <a16:creationId xmlns:a16="http://schemas.microsoft.com/office/drawing/2014/main" id="{103EDE36-8993-B149-8A13-EA6C2139C083}"/>
                </a:ext>
              </a:extLst>
            </p:cNvPr>
            <p:cNvSpPr/>
            <p:nvPr/>
          </p:nvSpPr>
          <p:spPr>
            <a:xfrm>
              <a:off x="2393717"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7" name="Oval 216">
              <a:extLst>
                <a:ext uri="{FF2B5EF4-FFF2-40B4-BE49-F238E27FC236}">
                  <a16:creationId xmlns:a16="http://schemas.microsoft.com/office/drawing/2014/main" id="{E47D4D74-DF68-904F-A343-D206950A3D9E}"/>
                </a:ext>
              </a:extLst>
            </p:cNvPr>
            <p:cNvSpPr/>
            <p:nvPr/>
          </p:nvSpPr>
          <p:spPr>
            <a:xfrm>
              <a:off x="2535615"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8" name="Freeform: Shape 209">
              <a:extLst>
                <a:ext uri="{FF2B5EF4-FFF2-40B4-BE49-F238E27FC236}">
                  <a16:creationId xmlns:a16="http://schemas.microsoft.com/office/drawing/2014/main" id="{3427B664-27B0-784F-8907-D3C1BF6A1863}"/>
                </a:ext>
              </a:extLst>
            </p:cNvPr>
            <p:cNvSpPr/>
            <p:nvPr/>
          </p:nvSpPr>
          <p:spPr>
            <a:xfrm rot="10800000" flipV="1">
              <a:off x="1800051" y="5073969"/>
              <a:ext cx="898436" cy="948437"/>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9" name="Straight Arrow Connector 218">
              <a:extLst>
                <a:ext uri="{FF2B5EF4-FFF2-40B4-BE49-F238E27FC236}">
                  <a16:creationId xmlns:a16="http://schemas.microsoft.com/office/drawing/2014/main" id="{6A1DB3A2-1404-1143-B431-6774CA805E0E}"/>
                </a:ext>
              </a:extLst>
            </p:cNvPr>
            <p:cNvCxnSpPr>
              <a:cxnSpLocks/>
            </p:cNvCxnSpPr>
            <p:nvPr/>
          </p:nvCxnSpPr>
          <p:spPr>
            <a:xfrm flipV="1">
              <a:off x="5333477" y="5625947"/>
              <a:ext cx="225053" cy="1788"/>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27EA6A27-3395-C34E-A788-3015B6B3C1B0}"/>
                </a:ext>
              </a:extLst>
            </p:cNvPr>
            <p:cNvSpPr/>
            <p:nvPr/>
          </p:nvSpPr>
          <p:spPr>
            <a:xfrm>
              <a:off x="8692144" y="5340364"/>
              <a:ext cx="1022363" cy="614226"/>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1" name="Straight Connector 220">
              <a:extLst>
                <a:ext uri="{FF2B5EF4-FFF2-40B4-BE49-F238E27FC236}">
                  <a16:creationId xmlns:a16="http://schemas.microsoft.com/office/drawing/2014/main" id="{6605534D-95E4-5E40-B340-72C16F921D62}"/>
                </a:ext>
              </a:extLst>
            </p:cNvPr>
            <p:cNvCxnSpPr/>
            <p:nvPr/>
          </p:nvCxnSpPr>
          <p:spPr>
            <a:xfrm>
              <a:off x="8546947" y="6081048"/>
              <a:ext cx="1312757" cy="0"/>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25F16C16-CF0E-9D48-B8F8-58F6A99B0F54}"/>
                </a:ext>
              </a:extLst>
            </p:cNvPr>
            <p:cNvGrpSpPr/>
            <p:nvPr/>
          </p:nvGrpSpPr>
          <p:grpSpPr>
            <a:xfrm>
              <a:off x="650336" y="3561453"/>
              <a:ext cx="1383137" cy="265651"/>
              <a:chOff x="692150" y="1660524"/>
              <a:chExt cx="2000250" cy="384176"/>
            </a:xfrm>
          </p:grpSpPr>
          <p:grpSp>
            <p:nvGrpSpPr>
              <p:cNvPr id="223" name="Group 222">
                <a:extLst>
                  <a:ext uri="{FF2B5EF4-FFF2-40B4-BE49-F238E27FC236}">
                    <a16:creationId xmlns:a16="http://schemas.microsoft.com/office/drawing/2014/main" id="{6360F153-233F-864C-A199-D5102F5A616D}"/>
                  </a:ext>
                </a:extLst>
              </p:cNvPr>
              <p:cNvGrpSpPr/>
              <p:nvPr/>
            </p:nvGrpSpPr>
            <p:grpSpPr>
              <a:xfrm>
                <a:off x="692150" y="1660524"/>
                <a:ext cx="609600" cy="384176"/>
                <a:chOff x="692150" y="1660524"/>
                <a:chExt cx="609600" cy="384176"/>
              </a:xfrm>
            </p:grpSpPr>
            <p:sp>
              <p:nvSpPr>
                <p:cNvPr id="238" name="Rectangle: Rounded Corners 344">
                  <a:extLst>
                    <a:ext uri="{FF2B5EF4-FFF2-40B4-BE49-F238E27FC236}">
                      <a16:creationId xmlns:a16="http://schemas.microsoft.com/office/drawing/2014/main" id="{ED1F823E-B708-014C-987E-4E6F9CBF4F1D}"/>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9" name="Trapezoid 238">
                  <a:extLst>
                    <a:ext uri="{FF2B5EF4-FFF2-40B4-BE49-F238E27FC236}">
                      <a16:creationId xmlns:a16="http://schemas.microsoft.com/office/drawing/2014/main" id="{5EA66883-64AA-4246-9F72-75AD15C10C96}"/>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0" name="Group 239">
                  <a:extLst>
                    <a:ext uri="{FF2B5EF4-FFF2-40B4-BE49-F238E27FC236}">
                      <a16:creationId xmlns:a16="http://schemas.microsoft.com/office/drawing/2014/main" id="{979EEC9F-A813-3149-95B7-3DDA6C7D3E0A}"/>
                    </a:ext>
                  </a:extLst>
                </p:cNvPr>
                <p:cNvGrpSpPr/>
                <p:nvPr/>
              </p:nvGrpSpPr>
              <p:grpSpPr>
                <a:xfrm>
                  <a:off x="745866" y="1887278"/>
                  <a:ext cx="502169" cy="117994"/>
                  <a:chOff x="737949" y="1892300"/>
                  <a:chExt cx="502169" cy="117994"/>
                </a:xfrm>
              </p:grpSpPr>
              <p:sp>
                <p:nvSpPr>
                  <p:cNvPr id="241" name="Oval 240">
                    <a:extLst>
                      <a:ext uri="{FF2B5EF4-FFF2-40B4-BE49-F238E27FC236}">
                        <a16:creationId xmlns:a16="http://schemas.microsoft.com/office/drawing/2014/main" id="{9256675B-64AC-7C40-8FBD-996D5CAE01BF}"/>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2" name="Oval 241">
                    <a:extLst>
                      <a:ext uri="{FF2B5EF4-FFF2-40B4-BE49-F238E27FC236}">
                        <a16:creationId xmlns:a16="http://schemas.microsoft.com/office/drawing/2014/main" id="{36612ED3-E5A7-4240-9B28-4568B4066469}"/>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3" name="Oval 242">
                    <a:extLst>
                      <a:ext uri="{FF2B5EF4-FFF2-40B4-BE49-F238E27FC236}">
                        <a16:creationId xmlns:a16="http://schemas.microsoft.com/office/drawing/2014/main" id="{0C4A41FC-29DE-9442-8A58-0055EB1849F3}"/>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24" name="Group 223">
                <a:extLst>
                  <a:ext uri="{FF2B5EF4-FFF2-40B4-BE49-F238E27FC236}">
                    <a16:creationId xmlns:a16="http://schemas.microsoft.com/office/drawing/2014/main" id="{DD9C2379-4D34-2C4D-BF36-10F1CEE8970E}"/>
                  </a:ext>
                </a:extLst>
              </p:cNvPr>
              <p:cNvGrpSpPr/>
              <p:nvPr/>
            </p:nvGrpSpPr>
            <p:grpSpPr>
              <a:xfrm>
                <a:off x="1387475" y="1660524"/>
                <a:ext cx="609600" cy="384176"/>
                <a:chOff x="692150" y="1660524"/>
                <a:chExt cx="609600" cy="384176"/>
              </a:xfrm>
            </p:grpSpPr>
            <p:sp>
              <p:nvSpPr>
                <p:cNvPr id="232" name="Rectangle: Rounded Corners 338">
                  <a:extLst>
                    <a:ext uri="{FF2B5EF4-FFF2-40B4-BE49-F238E27FC236}">
                      <a16:creationId xmlns:a16="http://schemas.microsoft.com/office/drawing/2014/main" id="{B341ACD5-5CF9-8E42-AF3A-01A4EA0274FA}"/>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3" name="Trapezoid 232">
                  <a:extLst>
                    <a:ext uri="{FF2B5EF4-FFF2-40B4-BE49-F238E27FC236}">
                      <a16:creationId xmlns:a16="http://schemas.microsoft.com/office/drawing/2014/main" id="{E5D6BF29-BCBB-CE43-999E-5E6FAE4BEA7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34" name="Group 233">
                  <a:extLst>
                    <a:ext uri="{FF2B5EF4-FFF2-40B4-BE49-F238E27FC236}">
                      <a16:creationId xmlns:a16="http://schemas.microsoft.com/office/drawing/2014/main" id="{995D9BD7-62D5-C44B-9528-47EC242B5092}"/>
                    </a:ext>
                  </a:extLst>
                </p:cNvPr>
                <p:cNvGrpSpPr/>
                <p:nvPr/>
              </p:nvGrpSpPr>
              <p:grpSpPr>
                <a:xfrm>
                  <a:off x="745866" y="1887278"/>
                  <a:ext cx="502169" cy="117994"/>
                  <a:chOff x="737949" y="1892300"/>
                  <a:chExt cx="502169" cy="117994"/>
                </a:xfrm>
              </p:grpSpPr>
              <p:sp>
                <p:nvSpPr>
                  <p:cNvPr id="235" name="Oval 234">
                    <a:extLst>
                      <a:ext uri="{FF2B5EF4-FFF2-40B4-BE49-F238E27FC236}">
                        <a16:creationId xmlns:a16="http://schemas.microsoft.com/office/drawing/2014/main" id="{52B169A6-1547-4C47-8B8E-BF52685B1DD5}"/>
                      </a:ext>
                    </a:extLst>
                  </p:cNvPr>
                  <p:cNvSpPr/>
                  <p:nvPr/>
                </p:nvSpPr>
                <p:spPr>
                  <a:xfrm>
                    <a:off x="737949" y="1892300"/>
                    <a:ext cx="117994" cy="117994"/>
                  </a:xfrm>
                  <a:prstGeom prst="ellipse">
                    <a:avLst/>
                  </a:prstGeom>
                  <a:solidFill>
                    <a:srgbClr val="DA901E"/>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6" name="Oval 235">
                    <a:extLst>
                      <a:ext uri="{FF2B5EF4-FFF2-40B4-BE49-F238E27FC236}">
                        <a16:creationId xmlns:a16="http://schemas.microsoft.com/office/drawing/2014/main" id="{058ECB46-92B5-5342-A145-ED38155BAE11}"/>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Oval 236">
                    <a:extLst>
                      <a:ext uri="{FF2B5EF4-FFF2-40B4-BE49-F238E27FC236}">
                        <a16:creationId xmlns:a16="http://schemas.microsoft.com/office/drawing/2014/main" id="{0B3C646F-2557-3C44-ADEC-10531AA41C8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25" name="Group 224">
                <a:extLst>
                  <a:ext uri="{FF2B5EF4-FFF2-40B4-BE49-F238E27FC236}">
                    <a16:creationId xmlns:a16="http://schemas.microsoft.com/office/drawing/2014/main" id="{1312EE4D-1AC5-CF47-88A9-FACD0D80252E}"/>
                  </a:ext>
                </a:extLst>
              </p:cNvPr>
              <p:cNvGrpSpPr/>
              <p:nvPr/>
            </p:nvGrpSpPr>
            <p:grpSpPr>
              <a:xfrm>
                <a:off x="2082800" y="1660524"/>
                <a:ext cx="609600" cy="384176"/>
                <a:chOff x="692150" y="1660524"/>
                <a:chExt cx="609600" cy="384176"/>
              </a:xfrm>
            </p:grpSpPr>
            <p:sp>
              <p:nvSpPr>
                <p:cNvPr id="226" name="Rectangle: Rounded Corners 332">
                  <a:extLst>
                    <a:ext uri="{FF2B5EF4-FFF2-40B4-BE49-F238E27FC236}">
                      <a16:creationId xmlns:a16="http://schemas.microsoft.com/office/drawing/2014/main" id="{2D152FA4-7DF1-7C40-ACEC-5310092C6E14}"/>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Trapezoid 226">
                  <a:extLst>
                    <a:ext uri="{FF2B5EF4-FFF2-40B4-BE49-F238E27FC236}">
                      <a16:creationId xmlns:a16="http://schemas.microsoft.com/office/drawing/2014/main" id="{B0297B05-6F58-3941-9F9F-AF8931E4ABA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8" name="Group 227">
                  <a:extLst>
                    <a:ext uri="{FF2B5EF4-FFF2-40B4-BE49-F238E27FC236}">
                      <a16:creationId xmlns:a16="http://schemas.microsoft.com/office/drawing/2014/main" id="{E1A2F624-AA8F-FF4E-87D5-EB524B318738}"/>
                    </a:ext>
                  </a:extLst>
                </p:cNvPr>
                <p:cNvGrpSpPr/>
                <p:nvPr/>
              </p:nvGrpSpPr>
              <p:grpSpPr>
                <a:xfrm>
                  <a:off x="745866" y="1887278"/>
                  <a:ext cx="502169" cy="117994"/>
                  <a:chOff x="737949" y="1892300"/>
                  <a:chExt cx="502169" cy="117994"/>
                </a:xfrm>
              </p:grpSpPr>
              <p:sp>
                <p:nvSpPr>
                  <p:cNvPr id="229" name="Oval 228">
                    <a:extLst>
                      <a:ext uri="{FF2B5EF4-FFF2-40B4-BE49-F238E27FC236}">
                        <a16:creationId xmlns:a16="http://schemas.microsoft.com/office/drawing/2014/main" id="{73D22797-357B-2346-A025-79CA56466856}"/>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0" name="Oval 229">
                    <a:extLst>
                      <a:ext uri="{FF2B5EF4-FFF2-40B4-BE49-F238E27FC236}">
                        <a16:creationId xmlns:a16="http://schemas.microsoft.com/office/drawing/2014/main" id="{568FA3DE-B1C1-684B-B293-D4AD31D4A3C6}"/>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1" name="Oval 230">
                    <a:extLst>
                      <a:ext uri="{FF2B5EF4-FFF2-40B4-BE49-F238E27FC236}">
                        <a16:creationId xmlns:a16="http://schemas.microsoft.com/office/drawing/2014/main" id="{9100BCEA-99CD-F140-861B-AC2936319F7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grpSp>
          <p:nvGrpSpPr>
            <p:cNvPr id="244" name="Group 243">
              <a:extLst>
                <a:ext uri="{FF2B5EF4-FFF2-40B4-BE49-F238E27FC236}">
                  <a16:creationId xmlns:a16="http://schemas.microsoft.com/office/drawing/2014/main" id="{312FC4A6-17F6-8B4C-AF4B-3F363EDBC60F}"/>
                </a:ext>
              </a:extLst>
            </p:cNvPr>
            <p:cNvGrpSpPr/>
            <p:nvPr/>
          </p:nvGrpSpPr>
          <p:grpSpPr>
            <a:xfrm>
              <a:off x="3190464" y="5406163"/>
              <a:ext cx="525427" cy="436893"/>
              <a:chOff x="5365877" y="4483047"/>
              <a:chExt cx="525427" cy="436893"/>
            </a:xfrm>
          </p:grpSpPr>
          <p:sp>
            <p:nvSpPr>
              <p:cNvPr id="245" name="Rectangle 244">
                <a:extLst>
                  <a:ext uri="{FF2B5EF4-FFF2-40B4-BE49-F238E27FC236}">
                    <a16:creationId xmlns:a16="http://schemas.microsoft.com/office/drawing/2014/main" id="{40978966-2155-114F-845B-65039F81E6E9}"/>
                  </a:ext>
                </a:extLst>
              </p:cNvPr>
              <p:cNvSpPr/>
              <p:nvPr/>
            </p:nvSpPr>
            <p:spPr>
              <a:xfrm>
                <a:off x="5414427" y="4520474"/>
                <a:ext cx="428326" cy="3620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6" name="Group 245">
                <a:extLst>
                  <a:ext uri="{FF2B5EF4-FFF2-40B4-BE49-F238E27FC236}">
                    <a16:creationId xmlns:a16="http://schemas.microsoft.com/office/drawing/2014/main" id="{2995185A-2066-E94A-982A-7661190FB337}"/>
                  </a:ext>
                </a:extLst>
              </p:cNvPr>
              <p:cNvGrpSpPr/>
              <p:nvPr/>
            </p:nvGrpSpPr>
            <p:grpSpPr>
              <a:xfrm>
                <a:off x="5365877" y="4483047"/>
                <a:ext cx="525427" cy="436893"/>
                <a:chOff x="1801603" y="944063"/>
                <a:chExt cx="1288426" cy="1071326"/>
              </a:xfrm>
              <a:solidFill>
                <a:srgbClr val="3955A3"/>
              </a:solidFill>
            </p:grpSpPr>
            <p:sp>
              <p:nvSpPr>
                <p:cNvPr id="250" name="Freeform: Shape 244">
                  <a:extLst>
                    <a:ext uri="{FF2B5EF4-FFF2-40B4-BE49-F238E27FC236}">
                      <a16:creationId xmlns:a16="http://schemas.microsoft.com/office/drawing/2014/main" id="{5C7F4DC3-BD1B-3E43-8256-8B6BE8DF248E}"/>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Freeform: Shape 323">
                  <a:extLst>
                    <a:ext uri="{FF2B5EF4-FFF2-40B4-BE49-F238E27FC236}">
                      <a16:creationId xmlns:a16="http://schemas.microsoft.com/office/drawing/2014/main" id="{BB3E5830-9D53-4A41-B496-387B08D1AF3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7" name="Group 246">
                <a:extLst>
                  <a:ext uri="{FF2B5EF4-FFF2-40B4-BE49-F238E27FC236}">
                    <a16:creationId xmlns:a16="http://schemas.microsoft.com/office/drawing/2014/main" id="{2AAC095B-3E4F-964D-8179-EE21C4027750}"/>
                  </a:ext>
                </a:extLst>
              </p:cNvPr>
              <p:cNvGrpSpPr/>
              <p:nvPr/>
            </p:nvGrpSpPr>
            <p:grpSpPr>
              <a:xfrm>
                <a:off x="5559038" y="4648730"/>
                <a:ext cx="139104" cy="139104"/>
                <a:chOff x="3928879" y="3037760"/>
                <a:chExt cx="201168" cy="201168"/>
              </a:xfrm>
            </p:grpSpPr>
            <p:sp>
              <p:nvSpPr>
                <p:cNvPr id="248" name="Oval 247">
                  <a:extLst>
                    <a:ext uri="{FF2B5EF4-FFF2-40B4-BE49-F238E27FC236}">
                      <a16:creationId xmlns:a16="http://schemas.microsoft.com/office/drawing/2014/main" id="{5D0CE72E-0384-BA4F-913C-C292DA9D25E6}"/>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9" name="Oval 248">
                  <a:extLst>
                    <a:ext uri="{FF2B5EF4-FFF2-40B4-BE49-F238E27FC236}">
                      <a16:creationId xmlns:a16="http://schemas.microsoft.com/office/drawing/2014/main" id="{03A79C44-2EFB-384D-9803-66D98AFF56ED}"/>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52" name="Group 251">
              <a:extLst>
                <a:ext uri="{FF2B5EF4-FFF2-40B4-BE49-F238E27FC236}">
                  <a16:creationId xmlns:a16="http://schemas.microsoft.com/office/drawing/2014/main" id="{033862B3-984B-C94B-937A-4E2B6B634F5C}"/>
                </a:ext>
              </a:extLst>
            </p:cNvPr>
            <p:cNvGrpSpPr/>
            <p:nvPr/>
          </p:nvGrpSpPr>
          <p:grpSpPr>
            <a:xfrm>
              <a:off x="1636523" y="5115360"/>
              <a:ext cx="303500" cy="303500"/>
              <a:chOff x="5120176" y="1789043"/>
              <a:chExt cx="438912" cy="438912"/>
            </a:xfrm>
          </p:grpSpPr>
          <p:sp>
            <p:nvSpPr>
              <p:cNvPr id="253" name="Rectangle 252">
                <a:extLst>
                  <a:ext uri="{FF2B5EF4-FFF2-40B4-BE49-F238E27FC236}">
                    <a16:creationId xmlns:a16="http://schemas.microsoft.com/office/drawing/2014/main" id="{5368CADD-626D-C841-8E0F-E1FB7B7E6BF4}"/>
                  </a:ext>
                </a:extLst>
              </p:cNvPr>
              <p:cNvSpPr/>
              <p:nvPr/>
            </p:nvSpPr>
            <p:spPr>
              <a:xfrm>
                <a:off x="5120176" y="178904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4" name="Graphic 4">
                <a:extLst>
                  <a:ext uri="{FF2B5EF4-FFF2-40B4-BE49-F238E27FC236}">
                    <a16:creationId xmlns:a16="http://schemas.microsoft.com/office/drawing/2014/main" id="{4DED638A-A9DF-C244-BAD2-A15167FC5BA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56752" y="1825619"/>
                <a:ext cx="365760" cy="365760"/>
              </a:xfrm>
              <a:prstGeom prst="rect">
                <a:avLst/>
              </a:prstGeom>
            </p:spPr>
          </p:pic>
        </p:grpSp>
        <p:grpSp>
          <p:nvGrpSpPr>
            <p:cNvPr id="255" name="Group 254">
              <a:extLst>
                <a:ext uri="{FF2B5EF4-FFF2-40B4-BE49-F238E27FC236}">
                  <a16:creationId xmlns:a16="http://schemas.microsoft.com/office/drawing/2014/main" id="{777EEB56-90B5-6A45-98AA-07D7B587F923}"/>
                </a:ext>
              </a:extLst>
            </p:cNvPr>
            <p:cNvGrpSpPr/>
            <p:nvPr/>
          </p:nvGrpSpPr>
          <p:grpSpPr>
            <a:xfrm>
              <a:off x="4575237" y="5420347"/>
              <a:ext cx="525427" cy="436893"/>
              <a:chOff x="4200169" y="4290185"/>
              <a:chExt cx="759856" cy="631821"/>
            </a:xfrm>
          </p:grpSpPr>
          <p:grpSp>
            <p:nvGrpSpPr>
              <p:cNvPr id="256" name="Group 255">
                <a:extLst>
                  <a:ext uri="{FF2B5EF4-FFF2-40B4-BE49-F238E27FC236}">
                    <a16:creationId xmlns:a16="http://schemas.microsoft.com/office/drawing/2014/main" id="{BD2E4947-5819-6049-8537-14B292F159A7}"/>
                  </a:ext>
                </a:extLst>
              </p:cNvPr>
              <p:cNvGrpSpPr/>
              <p:nvPr/>
            </p:nvGrpSpPr>
            <p:grpSpPr>
              <a:xfrm>
                <a:off x="4200169" y="4290185"/>
                <a:ext cx="759856" cy="631821"/>
                <a:chOff x="1801603" y="944063"/>
                <a:chExt cx="1288426" cy="1071326"/>
              </a:xfrm>
              <a:solidFill>
                <a:srgbClr val="006DD6"/>
              </a:solidFill>
            </p:grpSpPr>
            <p:sp>
              <p:nvSpPr>
                <p:cNvPr id="260" name="Freeform: Shape 234">
                  <a:extLst>
                    <a:ext uri="{FF2B5EF4-FFF2-40B4-BE49-F238E27FC236}">
                      <a16:creationId xmlns:a16="http://schemas.microsoft.com/office/drawing/2014/main" id="{1F703C26-16F6-2F4E-9074-2CDA23548F84}"/>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Freeform: Shape 235">
                  <a:extLst>
                    <a:ext uri="{FF2B5EF4-FFF2-40B4-BE49-F238E27FC236}">
                      <a16:creationId xmlns:a16="http://schemas.microsoft.com/office/drawing/2014/main" id="{0817573C-BFBC-4F4A-B6F3-D8E8E925CF54}"/>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57" name="Group 256">
                <a:extLst>
                  <a:ext uri="{FF2B5EF4-FFF2-40B4-BE49-F238E27FC236}">
                    <a16:creationId xmlns:a16="http://schemas.microsoft.com/office/drawing/2014/main" id="{7D640EEB-AB4C-734E-8FE5-0947F03FDDFA}"/>
                  </a:ext>
                </a:extLst>
              </p:cNvPr>
              <p:cNvGrpSpPr/>
              <p:nvPr/>
            </p:nvGrpSpPr>
            <p:grpSpPr>
              <a:xfrm>
                <a:off x="4479513" y="4529791"/>
                <a:ext cx="201168" cy="201168"/>
                <a:chOff x="3928879" y="3037760"/>
                <a:chExt cx="201168" cy="201168"/>
              </a:xfrm>
            </p:grpSpPr>
            <p:sp>
              <p:nvSpPr>
                <p:cNvPr id="258" name="Oval 257">
                  <a:extLst>
                    <a:ext uri="{FF2B5EF4-FFF2-40B4-BE49-F238E27FC236}">
                      <a16:creationId xmlns:a16="http://schemas.microsoft.com/office/drawing/2014/main" id="{5E8491CE-7366-7045-BE1B-DF8A03FE8D0F}"/>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9" name="Oval 258">
                  <a:extLst>
                    <a:ext uri="{FF2B5EF4-FFF2-40B4-BE49-F238E27FC236}">
                      <a16:creationId xmlns:a16="http://schemas.microsoft.com/office/drawing/2014/main" id="{BB792921-C7F0-A04D-A33A-221D87D58CAC}"/>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262" name="Picture 261" descr="A picture containing vector graphics&#10;&#10;Description generated with high confidence">
              <a:extLst>
                <a:ext uri="{FF2B5EF4-FFF2-40B4-BE49-F238E27FC236}">
                  <a16:creationId xmlns:a16="http://schemas.microsoft.com/office/drawing/2014/main" id="{2F864BA9-DADE-1649-976F-F311EB99C15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805761" y="5113904"/>
              <a:ext cx="1027211" cy="1027211"/>
            </a:xfrm>
            <a:prstGeom prst="rect">
              <a:avLst/>
            </a:prstGeom>
          </p:spPr>
        </p:pic>
        <p:sp>
          <p:nvSpPr>
            <p:cNvPr id="263" name="Rectangle 262">
              <a:extLst>
                <a:ext uri="{FF2B5EF4-FFF2-40B4-BE49-F238E27FC236}">
                  <a16:creationId xmlns:a16="http://schemas.microsoft.com/office/drawing/2014/main" id="{862952D4-0529-494F-8E0B-02B1297D273C}"/>
                </a:ext>
              </a:extLst>
            </p:cNvPr>
            <p:cNvSpPr/>
            <p:nvPr/>
          </p:nvSpPr>
          <p:spPr>
            <a:xfrm>
              <a:off x="6194094" y="5238782"/>
              <a:ext cx="256868" cy="2502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4" name="Group 263">
              <a:extLst>
                <a:ext uri="{FF2B5EF4-FFF2-40B4-BE49-F238E27FC236}">
                  <a16:creationId xmlns:a16="http://schemas.microsoft.com/office/drawing/2014/main" id="{A3798378-76C3-7F42-87B6-89EEB60F8887}"/>
                </a:ext>
              </a:extLst>
            </p:cNvPr>
            <p:cNvGrpSpPr/>
            <p:nvPr/>
          </p:nvGrpSpPr>
          <p:grpSpPr>
            <a:xfrm>
              <a:off x="6218376" y="5293669"/>
              <a:ext cx="184418" cy="184418"/>
              <a:chOff x="8867775" y="3181350"/>
              <a:chExt cx="266700" cy="266700"/>
            </a:xfrm>
          </p:grpSpPr>
          <p:sp>
            <p:nvSpPr>
              <p:cNvPr id="265" name="Oval 264">
                <a:extLst>
                  <a:ext uri="{FF2B5EF4-FFF2-40B4-BE49-F238E27FC236}">
                    <a16:creationId xmlns:a16="http://schemas.microsoft.com/office/drawing/2014/main" id="{24E6A3A7-6453-DC4D-B940-6248AC57DC25}"/>
                  </a:ext>
                </a:extLst>
              </p:cNvPr>
              <p:cNvSpPr/>
              <p:nvPr/>
            </p:nvSpPr>
            <p:spPr>
              <a:xfrm>
                <a:off x="8932545" y="3246120"/>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6" name="Rectangle: Rounded Corners 229">
                <a:extLst>
                  <a:ext uri="{FF2B5EF4-FFF2-40B4-BE49-F238E27FC236}">
                    <a16:creationId xmlns:a16="http://schemas.microsoft.com/office/drawing/2014/main" id="{B1DEBED6-161E-8140-82CE-1C8EACD37819}"/>
                  </a:ext>
                </a:extLst>
              </p:cNvPr>
              <p:cNvSpPr/>
              <p:nvPr/>
            </p:nvSpPr>
            <p:spPr>
              <a:xfrm>
                <a:off x="8867775" y="3181350"/>
                <a:ext cx="266700" cy="266700"/>
              </a:xfrm>
              <a:prstGeom prst="roundRect">
                <a:avLst/>
              </a:prstGeom>
              <a:noFill/>
              <a:ln w="5715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267" name="Picture 266">
              <a:extLst>
                <a:ext uri="{FF2B5EF4-FFF2-40B4-BE49-F238E27FC236}">
                  <a16:creationId xmlns:a16="http://schemas.microsoft.com/office/drawing/2014/main" id="{F11DDAF9-860F-DF40-BCC7-F6222E378D4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301657" y="5516818"/>
              <a:ext cx="277676" cy="221382"/>
            </a:xfrm>
            <a:prstGeom prst="rect">
              <a:avLst/>
            </a:prstGeom>
          </p:spPr>
        </p:pic>
        <p:cxnSp>
          <p:nvCxnSpPr>
            <p:cNvPr id="268" name="Straight Arrow Connector 267">
              <a:extLst>
                <a:ext uri="{FF2B5EF4-FFF2-40B4-BE49-F238E27FC236}">
                  <a16:creationId xmlns:a16="http://schemas.microsoft.com/office/drawing/2014/main" id="{BAEC1D71-08DC-E940-9A3D-08C3B57D6935}"/>
                </a:ext>
              </a:extLst>
            </p:cNvPr>
            <p:cNvCxnSpPr>
              <a:cxnSpLocks/>
            </p:cNvCxnSpPr>
            <p:nvPr/>
          </p:nvCxnSpPr>
          <p:spPr>
            <a:xfrm>
              <a:off x="6858288" y="5627510"/>
              <a:ext cx="455356" cy="0"/>
            </a:xfrm>
            <a:prstGeom prst="straightConnector1">
              <a:avLst/>
            </a:prstGeom>
            <a:ln w="19050">
              <a:solidFill>
                <a:srgbClr val="A8A9AD"/>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269" name="Picture 268">
              <a:extLst>
                <a:ext uri="{FF2B5EF4-FFF2-40B4-BE49-F238E27FC236}">
                  <a16:creationId xmlns:a16="http://schemas.microsoft.com/office/drawing/2014/main" id="{B8B20E53-4DD8-634E-857D-F42180D1BDA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42151" y="5398314"/>
              <a:ext cx="459764" cy="458391"/>
            </a:xfrm>
            <a:prstGeom prst="rect">
              <a:avLst/>
            </a:prstGeom>
          </p:spPr>
        </p:pic>
        <p:cxnSp>
          <p:nvCxnSpPr>
            <p:cNvPr id="270" name="Straight Arrow Connector 269">
              <a:extLst>
                <a:ext uri="{FF2B5EF4-FFF2-40B4-BE49-F238E27FC236}">
                  <a16:creationId xmlns:a16="http://schemas.microsoft.com/office/drawing/2014/main" id="{17C152F7-586A-4745-A6C0-45DF30551571}"/>
                </a:ext>
              </a:extLst>
            </p:cNvPr>
            <p:cNvCxnSpPr>
              <a:cxnSpLocks/>
            </p:cNvCxnSpPr>
            <p:nvPr/>
          </p:nvCxnSpPr>
          <p:spPr>
            <a:xfrm>
              <a:off x="8151729" y="5628606"/>
              <a:ext cx="455356" cy="0"/>
            </a:xfrm>
            <a:prstGeom prst="straightConnector1">
              <a:avLst/>
            </a:prstGeom>
            <a:ln w="19050">
              <a:solidFill>
                <a:srgbClr val="A8A9AD"/>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71" name="Freeform: Shape 226">
              <a:extLst>
                <a:ext uri="{FF2B5EF4-FFF2-40B4-BE49-F238E27FC236}">
                  <a16:creationId xmlns:a16="http://schemas.microsoft.com/office/drawing/2014/main" id="{AF33BCBB-B103-974C-9C50-CB39A1C1240D}"/>
                </a:ext>
              </a:extLst>
            </p:cNvPr>
            <p:cNvSpPr/>
            <p:nvPr/>
          </p:nvSpPr>
          <p:spPr>
            <a:xfrm>
              <a:off x="8971562" y="5449425"/>
              <a:ext cx="463527" cy="39610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Oval 271">
              <a:extLst>
                <a:ext uri="{FF2B5EF4-FFF2-40B4-BE49-F238E27FC236}">
                  <a16:creationId xmlns:a16="http://schemas.microsoft.com/office/drawing/2014/main" id="{8CD89469-0B4B-104E-A22E-CE1366D2B559}"/>
                </a:ext>
              </a:extLst>
            </p:cNvPr>
            <p:cNvSpPr/>
            <p:nvPr/>
          </p:nvSpPr>
          <p:spPr>
            <a:xfrm>
              <a:off x="9140956" y="5677286"/>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3" name="TextBox 272">
              <a:extLst>
                <a:ext uri="{FF2B5EF4-FFF2-40B4-BE49-F238E27FC236}">
                  <a16:creationId xmlns:a16="http://schemas.microsoft.com/office/drawing/2014/main" id="{E109D701-793E-0F4B-B28B-4895040D2733}"/>
                </a:ext>
              </a:extLst>
            </p:cNvPr>
            <p:cNvSpPr txBox="1"/>
            <p:nvPr/>
          </p:nvSpPr>
          <p:spPr>
            <a:xfrm>
              <a:off x="342703" y="2807782"/>
              <a:ext cx="1995369"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Connected IoT devices producing data</a:t>
              </a:r>
            </a:p>
          </p:txBody>
        </p:sp>
        <p:sp>
          <p:nvSpPr>
            <p:cNvPr id="274" name="TextBox 273">
              <a:extLst>
                <a:ext uri="{FF2B5EF4-FFF2-40B4-BE49-F238E27FC236}">
                  <a16:creationId xmlns:a16="http://schemas.microsoft.com/office/drawing/2014/main" id="{44ED3CB2-8C6D-6349-A409-5E58D55F1944}"/>
                </a:ext>
              </a:extLst>
            </p:cNvPr>
            <p:cNvSpPr txBox="1"/>
            <p:nvPr/>
          </p:nvSpPr>
          <p:spPr>
            <a:xfrm>
              <a:off x="233797" y="5379370"/>
              <a:ext cx="1683029"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 sent to </a:t>
              </a:r>
              <a:b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b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IoT Hub</a:t>
              </a:r>
            </a:p>
          </p:txBody>
        </p:sp>
        <p:sp>
          <p:nvSpPr>
            <p:cNvPr id="275" name="TextBox 274">
              <a:extLst>
                <a:ext uri="{FF2B5EF4-FFF2-40B4-BE49-F238E27FC236}">
                  <a16:creationId xmlns:a16="http://schemas.microsoft.com/office/drawing/2014/main" id="{96D05E68-50AA-824C-ABC3-FA337C84932E}"/>
                </a:ext>
              </a:extLst>
            </p:cNvPr>
            <p:cNvSpPr txBox="1"/>
            <p:nvPr/>
          </p:nvSpPr>
          <p:spPr>
            <a:xfrm>
              <a:off x="2677078" y="6206174"/>
              <a:ext cx="1561756"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 with special condition routed to a function</a:t>
              </a:r>
            </a:p>
          </p:txBody>
        </p:sp>
        <p:sp>
          <p:nvSpPr>
            <p:cNvPr id="276" name="TextBox 275">
              <a:extLst>
                <a:ext uri="{FF2B5EF4-FFF2-40B4-BE49-F238E27FC236}">
                  <a16:creationId xmlns:a16="http://schemas.microsoft.com/office/drawing/2014/main" id="{A0DBEF6F-27A1-3F48-8857-F25128B8FF6D}"/>
                </a:ext>
              </a:extLst>
            </p:cNvPr>
            <p:cNvSpPr txBox="1"/>
            <p:nvPr/>
          </p:nvSpPr>
          <p:spPr>
            <a:xfrm>
              <a:off x="4167097" y="6206174"/>
              <a:ext cx="1600793" cy="461666"/>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a:t>
              </a:r>
              <a:b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b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processes message...</a:t>
              </a:r>
            </a:p>
          </p:txBody>
        </p:sp>
        <p:sp>
          <p:nvSpPr>
            <p:cNvPr id="277" name="TextBox 276">
              <a:extLst>
                <a:ext uri="{FF2B5EF4-FFF2-40B4-BE49-F238E27FC236}">
                  <a16:creationId xmlns:a16="http://schemas.microsoft.com/office/drawing/2014/main" id="{1BE1D028-A0B5-1946-94A2-DF042501D055}"/>
                </a:ext>
              </a:extLst>
            </p:cNvPr>
            <p:cNvSpPr txBox="1"/>
            <p:nvPr/>
          </p:nvSpPr>
          <p:spPr>
            <a:xfrm>
              <a:off x="7251557" y="6206174"/>
              <a:ext cx="123654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which invokes Zendesk…</a:t>
              </a:r>
            </a:p>
          </p:txBody>
        </p:sp>
        <p:sp>
          <p:nvSpPr>
            <p:cNvPr id="278" name="TextBox 277">
              <a:extLst>
                <a:ext uri="{FF2B5EF4-FFF2-40B4-BE49-F238E27FC236}">
                  <a16:creationId xmlns:a16="http://schemas.microsoft.com/office/drawing/2014/main" id="{62A4A4B9-1BC1-D54D-8DEA-3898DB4289C0}"/>
                </a:ext>
              </a:extLst>
            </p:cNvPr>
            <p:cNvSpPr txBox="1"/>
            <p:nvPr/>
          </p:nvSpPr>
          <p:spPr>
            <a:xfrm>
              <a:off x="5639659" y="6206174"/>
              <a:ext cx="134237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d calls Logic Apps</a:t>
              </a:r>
            </a:p>
          </p:txBody>
        </p:sp>
        <p:sp>
          <p:nvSpPr>
            <p:cNvPr id="279" name="TextBox 278">
              <a:extLst>
                <a:ext uri="{FF2B5EF4-FFF2-40B4-BE49-F238E27FC236}">
                  <a16:creationId xmlns:a16="http://schemas.microsoft.com/office/drawing/2014/main" id="{12F61792-8399-3142-A3CA-7E2299987A98}"/>
                </a:ext>
              </a:extLst>
            </p:cNvPr>
            <p:cNvSpPr txBox="1"/>
            <p:nvPr/>
          </p:nvSpPr>
          <p:spPr>
            <a:xfrm>
              <a:off x="8483644" y="6206174"/>
              <a:ext cx="1443208"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to request device repair</a:t>
              </a:r>
            </a:p>
          </p:txBody>
        </p:sp>
        <p:sp>
          <p:nvSpPr>
            <p:cNvPr id="280" name="Isosceles Triangle 134">
              <a:extLst>
                <a:ext uri="{FF2B5EF4-FFF2-40B4-BE49-F238E27FC236}">
                  <a16:creationId xmlns:a16="http://schemas.microsoft.com/office/drawing/2014/main" id="{1C08FF0C-D6C8-BF42-913A-E53808CB8976}"/>
                </a:ext>
              </a:extLst>
            </p:cNvPr>
            <p:cNvSpPr/>
            <p:nvPr/>
          </p:nvSpPr>
          <p:spPr>
            <a:xfrm rot="5400000">
              <a:off x="5513317" y="5522100"/>
              <a:ext cx="284668" cy="20948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6319966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Conversational bot processing</a:t>
            </a:r>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916905"/>
          </a:xfrm>
        </p:spPr>
        <p:txBody>
          <a:bodyPr/>
          <a:lstStyle/>
          <a:p>
            <a:pPr lvl="0" defTabSz="932688">
              <a:lnSpc>
                <a:spcPct val="100000"/>
              </a:lnSpc>
              <a:spcAft>
                <a:spcPts val="0"/>
              </a:spcAft>
              <a:buSzTx/>
              <a:defRPr/>
            </a:pPr>
            <a:r>
              <a:rPr lang="en-US" sz="1800">
                <a:solidFill>
                  <a:schemeClr val="tx1"/>
                </a:solidFill>
                <a:cs typeface="Segoe UI Light" panose="020B0502040204020203" pitchFamily="34" charset="0"/>
              </a:rPr>
              <a:t>Customer asks for available vacation accommodations on her smartphone. A serverless bot deciphers the request and returns vacation options. </a:t>
            </a:r>
          </a:p>
          <a:p>
            <a:pPr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Hospitality</a:t>
            </a:r>
          </a:p>
        </p:txBody>
      </p:sp>
      <p:pic>
        <p:nvPicPr>
          <p:cNvPr id="124" name="Picture 123" descr="A picture containing window, indoor, sitting, floor&#10;&#10;Description generated with very high confidence">
            <a:extLst>
              <a:ext uri="{FF2B5EF4-FFF2-40B4-BE49-F238E27FC236}">
                <a16:creationId xmlns:a16="http://schemas.microsoft.com/office/drawing/2014/main" id="{B38C5241-0993-9146-86D9-84B52D873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81925" y="0"/>
            <a:ext cx="2266951" cy="6994525"/>
          </a:xfrm>
          <a:prstGeom prst="rect">
            <a:avLst/>
          </a:prstGeom>
        </p:spPr>
      </p:pic>
      <p:cxnSp>
        <p:nvCxnSpPr>
          <p:cNvPr id="125" name="Straight Arrow Connector 124">
            <a:extLst>
              <a:ext uri="{FF2B5EF4-FFF2-40B4-BE49-F238E27FC236}">
                <a16:creationId xmlns:a16="http://schemas.microsoft.com/office/drawing/2014/main" id="{BD4708FA-4E3E-D649-964F-2C83F9613AAE}"/>
              </a:ext>
            </a:extLst>
          </p:cNvPr>
          <p:cNvCxnSpPr>
            <a:cxnSpLocks/>
          </p:cNvCxnSpPr>
          <p:nvPr/>
        </p:nvCxnSpPr>
        <p:spPr>
          <a:xfrm>
            <a:off x="1881530" y="4200652"/>
            <a:ext cx="1570264" cy="0"/>
          </a:xfrm>
          <a:prstGeom prst="straightConnector1">
            <a:avLst/>
          </a:prstGeom>
          <a:ln w="317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625C87C6-10E7-1D4A-9702-5633A1EE29AC}"/>
              </a:ext>
            </a:extLst>
          </p:cNvPr>
          <p:cNvGrpSpPr/>
          <p:nvPr/>
        </p:nvGrpSpPr>
        <p:grpSpPr>
          <a:xfrm>
            <a:off x="843556" y="3534935"/>
            <a:ext cx="860368" cy="1414921"/>
            <a:chOff x="658361" y="3278278"/>
            <a:chExt cx="1121733" cy="1844749"/>
          </a:xfrm>
        </p:grpSpPr>
        <p:sp>
          <p:nvSpPr>
            <p:cNvPr id="126" name="Rectangle: Rounded Corners 1">
              <a:extLst>
                <a:ext uri="{FF2B5EF4-FFF2-40B4-BE49-F238E27FC236}">
                  <a16:creationId xmlns:a16="http://schemas.microsoft.com/office/drawing/2014/main" id="{176BD1BB-0C69-9F4F-974B-99ECBD24C217}"/>
                </a:ext>
              </a:extLst>
            </p:cNvPr>
            <p:cNvSpPr/>
            <p:nvPr/>
          </p:nvSpPr>
          <p:spPr>
            <a:xfrm>
              <a:off x="658361" y="3278278"/>
              <a:ext cx="1121733" cy="1844749"/>
            </a:xfrm>
            <a:prstGeom prst="roundRect">
              <a:avLst>
                <a:gd name="adj" fmla="val 9084"/>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Oval 126">
              <a:extLst>
                <a:ext uri="{FF2B5EF4-FFF2-40B4-BE49-F238E27FC236}">
                  <a16:creationId xmlns:a16="http://schemas.microsoft.com/office/drawing/2014/main" id="{0594309E-2ECF-4B43-BBF9-31EAA9933FB1}"/>
                </a:ext>
              </a:extLst>
            </p:cNvPr>
            <p:cNvSpPr/>
            <p:nvPr/>
          </p:nvSpPr>
          <p:spPr>
            <a:xfrm>
              <a:off x="1120949" y="4836988"/>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8" name="Straight Connector 127">
              <a:extLst>
                <a:ext uri="{FF2B5EF4-FFF2-40B4-BE49-F238E27FC236}">
                  <a16:creationId xmlns:a16="http://schemas.microsoft.com/office/drawing/2014/main" id="{8DF7959C-B09D-E043-B4D2-F5B35607910A}"/>
                </a:ext>
              </a:extLst>
            </p:cNvPr>
            <p:cNvCxnSpPr/>
            <p:nvPr/>
          </p:nvCxnSpPr>
          <p:spPr>
            <a:xfrm>
              <a:off x="1055430" y="3407079"/>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29" name="Rectangle 128">
            <a:extLst>
              <a:ext uri="{FF2B5EF4-FFF2-40B4-BE49-F238E27FC236}">
                <a16:creationId xmlns:a16="http://schemas.microsoft.com/office/drawing/2014/main" id="{AD3DF954-C9D7-684E-B150-157A64512C43}"/>
              </a:ext>
            </a:extLst>
          </p:cNvPr>
          <p:cNvSpPr/>
          <p:nvPr/>
        </p:nvSpPr>
        <p:spPr>
          <a:xfrm>
            <a:off x="728747" y="3724659"/>
            <a:ext cx="207335" cy="9303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 name="Freeform: Shape 41">
            <a:extLst>
              <a:ext uri="{FF2B5EF4-FFF2-40B4-BE49-F238E27FC236}">
                <a16:creationId xmlns:a16="http://schemas.microsoft.com/office/drawing/2014/main" id="{6043C32F-6989-D44D-B099-03C0E8B163A3}"/>
              </a:ext>
            </a:extLst>
          </p:cNvPr>
          <p:cNvSpPr/>
          <p:nvPr/>
        </p:nvSpPr>
        <p:spPr>
          <a:xfrm>
            <a:off x="613933" y="3908548"/>
            <a:ext cx="306357" cy="553074"/>
          </a:xfrm>
          <a:custGeom>
            <a:avLst/>
            <a:gdLst>
              <a:gd name="connsiteX0" fmla="*/ 3133165 w 3133165"/>
              <a:gd name="connsiteY0" fmla="*/ 0 h 5656371"/>
              <a:gd name="connsiteX1" fmla="*/ 3133165 w 3133165"/>
              <a:gd name="connsiteY1" fmla="*/ 5656371 h 5656371"/>
              <a:gd name="connsiteX2" fmla="*/ 1384468 w 3133165"/>
              <a:gd name="connsiteY2" fmla="*/ 3948597 h 5656371"/>
              <a:gd name="connsiteX3" fmla="*/ 365319 w 3133165"/>
              <a:gd name="connsiteY3" fmla="*/ 3948597 h 5656371"/>
              <a:gd name="connsiteX4" fmla="*/ 0 w 3133165"/>
              <a:gd name="connsiteY4" fmla="*/ 3583278 h 5656371"/>
              <a:gd name="connsiteX5" fmla="*/ 0 w 3133165"/>
              <a:gd name="connsiteY5" fmla="*/ 2122046 h 5656371"/>
              <a:gd name="connsiteX6" fmla="*/ 365319 w 3133165"/>
              <a:gd name="connsiteY6" fmla="*/ 1756727 h 5656371"/>
              <a:gd name="connsiteX7" fmla="*/ 1334340 w 3133165"/>
              <a:gd name="connsiteY7" fmla="*/ 1756727 h 565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3165" h="5656371">
                <a:moveTo>
                  <a:pt x="3133165" y="0"/>
                </a:moveTo>
                <a:lnTo>
                  <a:pt x="3133165" y="5656371"/>
                </a:lnTo>
                <a:lnTo>
                  <a:pt x="1384468" y="3948597"/>
                </a:lnTo>
                <a:lnTo>
                  <a:pt x="365319" y="3948597"/>
                </a:lnTo>
                <a:cubicBezTo>
                  <a:pt x="163559" y="3948597"/>
                  <a:pt x="0" y="3785038"/>
                  <a:pt x="0" y="3583278"/>
                </a:cubicBezTo>
                <a:lnTo>
                  <a:pt x="0" y="2122046"/>
                </a:lnTo>
                <a:cubicBezTo>
                  <a:pt x="0" y="1920286"/>
                  <a:pt x="163559" y="1756727"/>
                  <a:pt x="365319" y="1756727"/>
                </a:cubicBezTo>
                <a:lnTo>
                  <a:pt x="1334340" y="1756727"/>
                </a:lnTo>
                <a:close/>
              </a:path>
            </a:pathLst>
          </a:cu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1" name="Group 130">
            <a:extLst>
              <a:ext uri="{FF2B5EF4-FFF2-40B4-BE49-F238E27FC236}">
                <a16:creationId xmlns:a16="http://schemas.microsoft.com/office/drawing/2014/main" id="{0754CE03-4055-5F42-A614-10FEEE1418D8}"/>
              </a:ext>
            </a:extLst>
          </p:cNvPr>
          <p:cNvGrpSpPr/>
          <p:nvPr/>
        </p:nvGrpSpPr>
        <p:grpSpPr>
          <a:xfrm>
            <a:off x="8721696" y="3601739"/>
            <a:ext cx="785474" cy="1291754"/>
            <a:chOff x="3218645" y="2985976"/>
            <a:chExt cx="1121733" cy="1844749"/>
          </a:xfrm>
        </p:grpSpPr>
        <p:sp>
          <p:nvSpPr>
            <p:cNvPr id="132" name="Rectangle: Rounded Corners 73">
              <a:extLst>
                <a:ext uri="{FF2B5EF4-FFF2-40B4-BE49-F238E27FC236}">
                  <a16:creationId xmlns:a16="http://schemas.microsoft.com/office/drawing/2014/main" id="{25C34613-F525-314D-A8B5-3433E0602755}"/>
                </a:ext>
              </a:extLst>
            </p:cNvPr>
            <p:cNvSpPr/>
            <p:nvPr/>
          </p:nvSpPr>
          <p:spPr>
            <a:xfrm>
              <a:off x="3218645" y="2985976"/>
              <a:ext cx="1121733" cy="1844749"/>
            </a:xfrm>
            <a:prstGeom prst="roundRect">
              <a:avLst>
                <a:gd name="adj" fmla="val 9084"/>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a16="http://schemas.microsoft.com/office/drawing/2014/main" id="{9B203086-B7B2-D043-BA14-51D44C50D5CE}"/>
                </a:ext>
              </a:extLst>
            </p:cNvPr>
            <p:cNvSpPr/>
            <p:nvPr/>
          </p:nvSpPr>
          <p:spPr>
            <a:xfrm>
              <a:off x="3681233" y="4544686"/>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4" name="Straight Connector 133">
              <a:extLst>
                <a:ext uri="{FF2B5EF4-FFF2-40B4-BE49-F238E27FC236}">
                  <a16:creationId xmlns:a16="http://schemas.microsoft.com/office/drawing/2014/main" id="{3C08A322-B13D-3B46-9DD7-B21379325654}"/>
                </a:ext>
              </a:extLst>
            </p:cNvPr>
            <p:cNvCxnSpPr/>
            <p:nvPr/>
          </p:nvCxnSpPr>
          <p:spPr>
            <a:xfrm>
              <a:off x="3615714" y="3114777"/>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35" name="TextBox 134">
            <a:extLst>
              <a:ext uri="{FF2B5EF4-FFF2-40B4-BE49-F238E27FC236}">
                <a16:creationId xmlns:a16="http://schemas.microsoft.com/office/drawing/2014/main" id="{52CF17C7-F57B-0F45-81CA-96D91E21FD6E}"/>
              </a:ext>
            </a:extLst>
          </p:cNvPr>
          <p:cNvSpPr txBox="1"/>
          <p:nvPr/>
        </p:nvSpPr>
        <p:spPr>
          <a:xfrm>
            <a:off x="400008" y="5284559"/>
            <a:ext cx="1774868"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User request through conversational interface</a:t>
            </a:r>
          </a:p>
        </p:txBody>
      </p:sp>
      <p:sp>
        <p:nvSpPr>
          <p:cNvPr id="136" name="TextBox 135">
            <a:extLst>
              <a:ext uri="{FF2B5EF4-FFF2-40B4-BE49-F238E27FC236}">
                <a16:creationId xmlns:a16="http://schemas.microsoft.com/office/drawing/2014/main" id="{E626216C-6394-F744-B61A-B9F9E60A7CA1}"/>
              </a:ext>
            </a:extLst>
          </p:cNvPr>
          <p:cNvSpPr txBox="1"/>
          <p:nvPr/>
        </p:nvSpPr>
        <p:spPr>
          <a:xfrm>
            <a:off x="3186216" y="5284559"/>
            <a:ext cx="2106313"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Bot running in a function deciphers request using language understanding</a:t>
            </a:r>
          </a:p>
        </p:txBody>
      </p:sp>
      <p:sp>
        <p:nvSpPr>
          <p:cNvPr id="137" name="TextBox 136">
            <a:extLst>
              <a:ext uri="{FF2B5EF4-FFF2-40B4-BE49-F238E27FC236}">
                <a16:creationId xmlns:a16="http://schemas.microsoft.com/office/drawing/2014/main" id="{0DD8768C-0EE8-3949-A3AB-BD78F3AE438A}"/>
              </a:ext>
            </a:extLst>
          </p:cNvPr>
          <p:cNvSpPr txBox="1"/>
          <p:nvPr/>
        </p:nvSpPr>
        <p:spPr>
          <a:xfrm>
            <a:off x="5831145" y="5284559"/>
            <a:ext cx="1741051"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other function processes the request</a:t>
            </a:r>
          </a:p>
        </p:txBody>
      </p:sp>
      <p:sp>
        <p:nvSpPr>
          <p:cNvPr id="138" name="TextBox 137">
            <a:extLst>
              <a:ext uri="{FF2B5EF4-FFF2-40B4-BE49-F238E27FC236}">
                <a16:creationId xmlns:a16="http://schemas.microsoft.com/office/drawing/2014/main" id="{AA30D7DA-372B-F147-8E33-D8A08D014EC8}"/>
              </a:ext>
            </a:extLst>
          </p:cNvPr>
          <p:cNvSpPr txBox="1"/>
          <p:nvPr/>
        </p:nvSpPr>
        <p:spPr>
          <a:xfrm>
            <a:off x="8104821" y="5284559"/>
            <a:ext cx="2045851"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d sends response to original requester</a:t>
            </a:r>
          </a:p>
        </p:txBody>
      </p:sp>
      <p:grpSp>
        <p:nvGrpSpPr>
          <p:cNvPr id="139" name="Group 138">
            <a:extLst>
              <a:ext uri="{FF2B5EF4-FFF2-40B4-BE49-F238E27FC236}">
                <a16:creationId xmlns:a16="http://schemas.microsoft.com/office/drawing/2014/main" id="{58D9A043-A9C1-3A49-AC46-B373C6AA33F6}"/>
              </a:ext>
            </a:extLst>
          </p:cNvPr>
          <p:cNvGrpSpPr/>
          <p:nvPr/>
        </p:nvGrpSpPr>
        <p:grpSpPr>
          <a:xfrm>
            <a:off x="1115863" y="3929517"/>
            <a:ext cx="440723" cy="523220"/>
            <a:chOff x="3530386" y="3167165"/>
            <a:chExt cx="440723" cy="523220"/>
          </a:xfrm>
        </p:grpSpPr>
        <p:sp>
          <p:nvSpPr>
            <p:cNvPr id="140" name="Oval 139">
              <a:extLst>
                <a:ext uri="{FF2B5EF4-FFF2-40B4-BE49-F238E27FC236}">
                  <a16:creationId xmlns:a16="http://schemas.microsoft.com/office/drawing/2014/main" id="{783292A8-0BA4-F646-B7FB-5EAF60E2ED9D}"/>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839D0EA0-C60A-504E-BD2A-FBF171655FF1}"/>
                </a:ext>
              </a:extLst>
            </p:cNvPr>
            <p:cNvSpPr txBox="1"/>
            <p:nvPr/>
          </p:nvSpPr>
          <p:spPr>
            <a:xfrm>
              <a:off x="3586420" y="3167165"/>
              <a:ext cx="363491" cy="523220"/>
            </a:xfrm>
            <a:prstGeom prst="rect">
              <a:avLst/>
            </a:prstGeom>
            <a:noFill/>
          </p:spPr>
          <p:txBody>
            <a:bodyPr wrap="square" rtlCol="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2F2F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42" name="Group 141">
            <a:extLst>
              <a:ext uri="{FF2B5EF4-FFF2-40B4-BE49-F238E27FC236}">
                <a16:creationId xmlns:a16="http://schemas.microsoft.com/office/drawing/2014/main" id="{9F05AF8A-29BA-144A-B7C7-E04BF0711869}"/>
              </a:ext>
            </a:extLst>
          </p:cNvPr>
          <p:cNvGrpSpPr/>
          <p:nvPr/>
        </p:nvGrpSpPr>
        <p:grpSpPr>
          <a:xfrm>
            <a:off x="2382889" y="3933872"/>
            <a:ext cx="440723" cy="523220"/>
            <a:chOff x="3530386" y="3167165"/>
            <a:chExt cx="440723" cy="523220"/>
          </a:xfrm>
        </p:grpSpPr>
        <p:sp>
          <p:nvSpPr>
            <p:cNvPr id="149" name="Oval 148">
              <a:extLst>
                <a:ext uri="{FF2B5EF4-FFF2-40B4-BE49-F238E27FC236}">
                  <a16:creationId xmlns:a16="http://schemas.microsoft.com/office/drawing/2014/main" id="{695B91FF-CA45-3340-860A-470630949AF0}"/>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TextBox 149">
              <a:extLst>
                <a:ext uri="{FF2B5EF4-FFF2-40B4-BE49-F238E27FC236}">
                  <a16:creationId xmlns:a16="http://schemas.microsoft.com/office/drawing/2014/main" id="{8DD87BDA-DE76-6048-AC54-44833B60BA6D}"/>
                </a:ext>
              </a:extLst>
            </p:cNvPr>
            <p:cNvSpPr txBox="1"/>
            <p:nvPr/>
          </p:nvSpPr>
          <p:spPr>
            <a:xfrm>
              <a:off x="3586420" y="3167165"/>
              <a:ext cx="363491" cy="523220"/>
            </a:xfrm>
            <a:prstGeom prst="rect">
              <a:avLst/>
            </a:prstGeom>
            <a:noFill/>
          </p:spPr>
          <p:txBody>
            <a:bodyPr wrap="square" rtlCol="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2F2F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51" name="Group 150">
            <a:extLst>
              <a:ext uri="{FF2B5EF4-FFF2-40B4-BE49-F238E27FC236}">
                <a16:creationId xmlns:a16="http://schemas.microsoft.com/office/drawing/2014/main" id="{DB12D673-D518-1C45-B496-954BC30E8D19}"/>
              </a:ext>
            </a:extLst>
          </p:cNvPr>
          <p:cNvGrpSpPr/>
          <p:nvPr/>
        </p:nvGrpSpPr>
        <p:grpSpPr>
          <a:xfrm>
            <a:off x="5785454" y="3307825"/>
            <a:ext cx="1526645" cy="1505475"/>
            <a:chOff x="7953410" y="2505931"/>
            <a:chExt cx="1526645" cy="1505475"/>
          </a:xfrm>
        </p:grpSpPr>
        <p:sp>
          <p:nvSpPr>
            <p:cNvPr id="152" name="Rectangle: Rounded Corners 66">
              <a:extLst>
                <a:ext uri="{FF2B5EF4-FFF2-40B4-BE49-F238E27FC236}">
                  <a16:creationId xmlns:a16="http://schemas.microsoft.com/office/drawing/2014/main" id="{60605388-1880-954E-92CE-43D9E0054B54}"/>
                </a:ext>
              </a:extLst>
            </p:cNvPr>
            <p:cNvSpPr/>
            <p:nvPr/>
          </p:nvSpPr>
          <p:spPr>
            <a:xfrm>
              <a:off x="8254759" y="2786110"/>
              <a:ext cx="1225296" cy="1225296"/>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3" name="Group 152">
              <a:extLst>
                <a:ext uri="{FF2B5EF4-FFF2-40B4-BE49-F238E27FC236}">
                  <a16:creationId xmlns:a16="http://schemas.microsoft.com/office/drawing/2014/main" id="{2DF0701E-438B-5649-AAD2-BCAF153DF673}"/>
                </a:ext>
              </a:extLst>
            </p:cNvPr>
            <p:cNvGrpSpPr/>
            <p:nvPr/>
          </p:nvGrpSpPr>
          <p:grpSpPr>
            <a:xfrm>
              <a:off x="7953410" y="2505931"/>
              <a:ext cx="591862" cy="587828"/>
              <a:chOff x="10257340" y="1680054"/>
              <a:chExt cx="394878" cy="392187"/>
            </a:xfrm>
          </p:grpSpPr>
          <p:sp>
            <p:nvSpPr>
              <p:cNvPr id="163" name="Rectangle 162">
                <a:extLst>
                  <a:ext uri="{FF2B5EF4-FFF2-40B4-BE49-F238E27FC236}">
                    <a16:creationId xmlns:a16="http://schemas.microsoft.com/office/drawing/2014/main" id="{F37A436B-0A80-EE42-A90B-7E2A70F5D127}"/>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4" name="Picture 163" descr="Image result for azure functions logo png">
                <a:extLst>
                  <a:ext uri="{FF2B5EF4-FFF2-40B4-BE49-F238E27FC236}">
                    <a16:creationId xmlns:a16="http://schemas.microsoft.com/office/drawing/2014/main" id="{6E8B29ED-B7CB-4D4F-8802-DD2B85E4AA23}"/>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4" name="Group 153">
              <a:extLst>
                <a:ext uri="{FF2B5EF4-FFF2-40B4-BE49-F238E27FC236}">
                  <a16:creationId xmlns:a16="http://schemas.microsoft.com/office/drawing/2014/main" id="{C787422C-ABD8-C845-81E0-46037F192276}"/>
                </a:ext>
              </a:extLst>
            </p:cNvPr>
            <p:cNvGrpSpPr/>
            <p:nvPr/>
          </p:nvGrpSpPr>
          <p:grpSpPr>
            <a:xfrm>
              <a:off x="8647951" y="3174132"/>
              <a:ext cx="438912" cy="438912"/>
              <a:chOff x="6960232" y="1770578"/>
              <a:chExt cx="438912" cy="438912"/>
            </a:xfrm>
          </p:grpSpPr>
          <p:sp>
            <p:nvSpPr>
              <p:cNvPr id="161" name="Oval 160">
                <a:extLst>
                  <a:ext uri="{FF2B5EF4-FFF2-40B4-BE49-F238E27FC236}">
                    <a16:creationId xmlns:a16="http://schemas.microsoft.com/office/drawing/2014/main" id="{FB5AA417-E216-BF4C-9041-A5DE70A6782E}"/>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2" name="Freeform 85">
                <a:extLst>
                  <a:ext uri="{FF2B5EF4-FFF2-40B4-BE49-F238E27FC236}">
                    <a16:creationId xmlns:a16="http://schemas.microsoft.com/office/drawing/2014/main" id="{109D27A1-2129-4F44-8891-003AC1F1B82B}"/>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F9F08CC2-22BA-2244-AD98-186F75F6E0A5}"/>
              </a:ext>
            </a:extLst>
          </p:cNvPr>
          <p:cNvGrpSpPr/>
          <p:nvPr/>
        </p:nvGrpSpPr>
        <p:grpSpPr>
          <a:xfrm>
            <a:off x="8892507" y="3976026"/>
            <a:ext cx="438912" cy="438912"/>
            <a:chOff x="6960232" y="1770578"/>
            <a:chExt cx="438912" cy="438912"/>
          </a:xfrm>
        </p:grpSpPr>
        <p:sp>
          <p:nvSpPr>
            <p:cNvPr id="167" name="Oval 166">
              <a:extLst>
                <a:ext uri="{FF2B5EF4-FFF2-40B4-BE49-F238E27FC236}">
                  <a16:creationId xmlns:a16="http://schemas.microsoft.com/office/drawing/2014/main" id="{FD58C319-27D7-934D-8774-9870DB22713D}"/>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Freeform 85">
              <a:extLst>
                <a:ext uri="{FF2B5EF4-FFF2-40B4-BE49-F238E27FC236}">
                  <a16:creationId xmlns:a16="http://schemas.microsoft.com/office/drawing/2014/main" id="{BAFDE011-60E4-BA46-80E7-EB5A640B25B3}"/>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72" name="Group 171">
            <a:extLst>
              <a:ext uri="{FF2B5EF4-FFF2-40B4-BE49-F238E27FC236}">
                <a16:creationId xmlns:a16="http://schemas.microsoft.com/office/drawing/2014/main" id="{3D19BE56-8110-1C44-AF05-ED11FCCD39A5}"/>
              </a:ext>
            </a:extLst>
          </p:cNvPr>
          <p:cNvGrpSpPr/>
          <p:nvPr/>
        </p:nvGrpSpPr>
        <p:grpSpPr>
          <a:xfrm>
            <a:off x="7574393" y="3976026"/>
            <a:ext cx="1039497" cy="438912"/>
            <a:chOff x="9620250" y="3174132"/>
            <a:chExt cx="1039497" cy="438912"/>
          </a:xfrm>
        </p:grpSpPr>
        <p:cxnSp>
          <p:nvCxnSpPr>
            <p:cNvPr id="173" name="Straight Arrow Connector 172">
              <a:extLst>
                <a:ext uri="{FF2B5EF4-FFF2-40B4-BE49-F238E27FC236}">
                  <a16:creationId xmlns:a16="http://schemas.microsoft.com/office/drawing/2014/main" id="{56EABA9A-7793-7543-95E2-FD150F56E24C}"/>
                </a:ext>
              </a:extLst>
            </p:cNvPr>
            <p:cNvCxnSpPr>
              <a:cxnSpLocks/>
            </p:cNvCxnSpPr>
            <p:nvPr/>
          </p:nvCxnSpPr>
          <p:spPr>
            <a:xfrm>
              <a:off x="9620250" y="3394722"/>
              <a:ext cx="1039497" cy="3425"/>
            </a:xfrm>
            <a:prstGeom prst="straightConnector1">
              <a:avLst/>
            </a:prstGeom>
            <a:ln w="25400">
              <a:solidFill>
                <a:srgbClr val="0078D7"/>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75" name="Group 174">
              <a:extLst>
                <a:ext uri="{FF2B5EF4-FFF2-40B4-BE49-F238E27FC236}">
                  <a16:creationId xmlns:a16="http://schemas.microsoft.com/office/drawing/2014/main" id="{A89D9EB8-7178-F242-9801-CC14FF22BF4A}"/>
                </a:ext>
              </a:extLst>
            </p:cNvPr>
            <p:cNvGrpSpPr/>
            <p:nvPr/>
          </p:nvGrpSpPr>
          <p:grpSpPr>
            <a:xfrm>
              <a:off x="9947324" y="3174132"/>
              <a:ext cx="438912" cy="438912"/>
              <a:chOff x="7096995" y="1770578"/>
              <a:chExt cx="438912" cy="438912"/>
            </a:xfrm>
          </p:grpSpPr>
          <p:sp>
            <p:nvSpPr>
              <p:cNvPr id="176" name="Oval 175">
                <a:extLst>
                  <a:ext uri="{FF2B5EF4-FFF2-40B4-BE49-F238E27FC236}">
                    <a16:creationId xmlns:a16="http://schemas.microsoft.com/office/drawing/2014/main" id="{7AA0B9DC-3222-5648-9A67-A7A983B7F34C}"/>
                  </a:ext>
                </a:extLst>
              </p:cNvPr>
              <p:cNvSpPr/>
              <p:nvPr/>
            </p:nvSpPr>
            <p:spPr>
              <a:xfrm>
                <a:off x="7096995"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7" name="Freeform 85">
                <a:extLst>
                  <a:ext uri="{FF2B5EF4-FFF2-40B4-BE49-F238E27FC236}">
                    <a16:creationId xmlns:a16="http://schemas.microsoft.com/office/drawing/2014/main" id="{F7779D95-E2B4-A940-9BA6-FB39705E5F3B}"/>
                  </a:ext>
                </a:extLst>
              </p:cNvPr>
              <p:cNvSpPr>
                <a:spLocks noChangeAspect="1"/>
              </p:cNvSpPr>
              <p:nvPr/>
            </p:nvSpPr>
            <p:spPr bwMode="black">
              <a:xfrm>
                <a:off x="7242469"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grpSp>
        <p:nvGrpSpPr>
          <p:cNvPr id="178" name="Group 177">
            <a:extLst>
              <a:ext uri="{FF2B5EF4-FFF2-40B4-BE49-F238E27FC236}">
                <a16:creationId xmlns:a16="http://schemas.microsoft.com/office/drawing/2014/main" id="{077E1261-7773-2147-AE2B-D6089E7F3D34}"/>
              </a:ext>
            </a:extLst>
          </p:cNvPr>
          <p:cNvGrpSpPr/>
          <p:nvPr/>
        </p:nvGrpSpPr>
        <p:grpSpPr>
          <a:xfrm>
            <a:off x="3289904" y="3307825"/>
            <a:ext cx="1526645" cy="1505475"/>
            <a:chOff x="5324510" y="2505931"/>
            <a:chExt cx="1526645" cy="1505475"/>
          </a:xfrm>
        </p:grpSpPr>
        <p:grpSp>
          <p:nvGrpSpPr>
            <p:cNvPr id="179" name="Group 178">
              <a:extLst>
                <a:ext uri="{FF2B5EF4-FFF2-40B4-BE49-F238E27FC236}">
                  <a16:creationId xmlns:a16="http://schemas.microsoft.com/office/drawing/2014/main" id="{B8FC1B83-DC9C-C644-B8D1-CF375D136E70}"/>
                </a:ext>
              </a:extLst>
            </p:cNvPr>
            <p:cNvGrpSpPr/>
            <p:nvPr/>
          </p:nvGrpSpPr>
          <p:grpSpPr>
            <a:xfrm>
              <a:off x="5958269" y="3214092"/>
              <a:ext cx="560476" cy="369332"/>
              <a:chOff x="5908555" y="1962111"/>
              <a:chExt cx="560476" cy="369332"/>
            </a:xfrm>
          </p:grpSpPr>
          <p:grpSp>
            <p:nvGrpSpPr>
              <p:cNvPr id="187" name="Group 186">
                <a:extLst>
                  <a:ext uri="{FF2B5EF4-FFF2-40B4-BE49-F238E27FC236}">
                    <a16:creationId xmlns:a16="http://schemas.microsoft.com/office/drawing/2014/main" id="{6A9F0AE3-00E0-4F4D-8AE9-5E3A9D83A2F8}"/>
                  </a:ext>
                </a:extLst>
              </p:cNvPr>
              <p:cNvGrpSpPr/>
              <p:nvPr/>
            </p:nvGrpSpPr>
            <p:grpSpPr>
              <a:xfrm>
                <a:off x="6150183" y="1981200"/>
                <a:ext cx="318848" cy="318848"/>
                <a:chOff x="6960232" y="1770578"/>
                <a:chExt cx="438912" cy="438912"/>
              </a:xfrm>
            </p:grpSpPr>
            <p:sp>
              <p:nvSpPr>
                <p:cNvPr id="190" name="Oval 189">
                  <a:extLst>
                    <a:ext uri="{FF2B5EF4-FFF2-40B4-BE49-F238E27FC236}">
                      <a16:creationId xmlns:a16="http://schemas.microsoft.com/office/drawing/2014/main" id="{E69DA49F-8D06-FA44-B756-240855A19A3F}"/>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1" name="Freeform 85">
                  <a:extLst>
                    <a:ext uri="{FF2B5EF4-FFF2-40B4-BE49-F238E27FC236}">
                      <a16:creationId xmlns:a16="http://schemas.microsoft.com/office/drawing/2014/main" id="{78C89600-3999-3B41-9BAD-67D771442C2F}"/>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88" name="Oval 187">
                <a:extLst>
                  <a:ext uri="{FF2B5EF4-FFF2-40B4-BE49-F238E27FC236}">
                    <a16:creationId xmlns:a16="http://schemas.microsoft.com/office/drawing/2014/main" id="{29BE7E2C-153D-0441-A463-118E308EDA8A}"/>
                  </a:ext>
                </a:extLst>
              </p:cNvPr>
              <p:cNvSpPr/>
              <p:nvPr/>
            </p:nvSpPr>
            <p:spPr>
              <a:xfrm>
                <a:off x="5908555" y="1992076"/>
                <a:ext cx="320164" cy="320164"/>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TextBox 188">
                <a:extLst>
                  <a:ext uri="{FF2B5EF4-FFF2-40B4-BE49-F238E27FC236}">
                    <a16:creationId xmlns:a16="http://schemas.microsoft.com/office/drawing/2014/main" id="{12BE92DB-7ECB-4F49-82E5-A694EC2BCFF2}"/>
                  </a:ext>
                </a:extLst>
              </p:cNvPr>
              <p:cNvSpPr txBox="1"/>
              <p:nvPr/>
            </p:nvSpPr>
            <p:spPr>
              <a:xfrm>
                <a:off x="5936608" y="1962111"/>
                <a:ext cx="264059" cy="369332"/>
              </a:xfrm>
              <a:prstGeom prst="rect">
                <a:avLst/>
              </a:prstGeom>
              <a:noFill/>
            </p:spPr>
            <p:txBody>
              <a:bodyPr wrap="square" rtlCol="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F2F2F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80" name="Group 179">
              <a:extLst>
                <a:ext uri="{FF2B5EF4-FFF2-40B4-BE49-F238E27FC236}">
                  <a16:creationId xmlns:a16="http://schemas.microsoft.com/office/drawing/2014/main" id="{10E19B43-BE6C-BC4C-AB07-8931982E4809}"/>
                </a:ext>
              </a:extLst>
            </p:cNvPr>
            <p:cNvGrpSpPr/>
            <p:nvPr/>
          </p:nvGrpSpPr>
          <p:grpSpPr>
            <a:xfrm>
              <a:off x="5859336" y="3018536"/>
              <a:ext cx="758342" cy="760444"/>
              <a:chOff x="7178488" y="2597152"/>
              <a:chExt cx="679453" cy="625663"/>
            </a:xfrm>
          </p:grpSpPr>
          <p:cxnSp>
            <p:nvCxnSpPr>
              <p:cNvPr id="185" name="Connector: Elbow 37">
                <a:extLst>
                  <a:ext uri="{FF2B5EF4-FFF2-40B4-BE49-F238E27FC236}">
                    <a16:creationId xmlns:a16="http://schemas.microsoft.com/office/drawing/2014/main" id="{6D9FFDBB-CABC-E44B-AFBE-966402354664}"/>
                  </a:ext>
                </a:extLst>
              </p:cNvPr>
              <p:cNvCxnSpPr>
                <a:cxnSpLocks/>
              </p:cNvCxnSpPr>
              <p:nvPr/>
            </p:nvCxnSpPr>
            <p:spPr>
              <a:xfrm rot="16200000" flipH="1">
                <a:off x="7176621" y="2773457"/>
                <a:ext cx="451225" cy="447491"/>
              </a:xfrm>
              <a:prstGeom prst="bentConnector2">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186" name="Connector: Elbow 55">
                <a:extLst>
                  <a:ext uri="{FF2B5EF4-FFF2-40B4-BE49-F238E27FC236}">
                    <a16:creationId xmlns:a16="http://schemas.microsoft.com/office/drawing/2014/main" id="{A31D0C4B-66D4-574C-ABB5-816D7089AB06}"/>
                  </a:ext>
                </a:extLst>
              </p:cNvPr>
              <p:cNvCxnSpPr>
                <a:cxnSpLocks/>
              </p:cNvCxnSpPr>
              <p:nvPr/>
            </p:nvCxnSpPr>
            <p:spPr>
              <a:xfrm>
                <a:off x="7406716" y="2597152"/>
                <a:ext cx="451225" cy="447491"/>
              </a:xfrm>
              <a:prstGeom prst="bentConnector2">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81" name="Rectangle: Rounded Corners 58">
              <a:extLst>
                <a:ext uri="{FF2B5EF4-FFF2-40B4-BE49-F238E27FC236}">
                  <a16:creationId xmlns:a16="http://schemas.microsoft.com/office/drawing/2014/main" id="{29F183C0-24A1-5141-8EB0-F3DDCC8E9C61}"/>
                </a:ext>
              </a:extLst>
            </p:cNvPr>
            <p:cNvSpPr/>
            <p:nvPr/>
          </p:nvSpPr>
          <p:spPr>
            <a:xfrm>
              <a:off x="5625859" y="2786110"/>
              <a:ext cx="1225296" cy="1225296"/>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2" name="Group 181">
              <a:extLst>
                <a:ext uri="{FF2B5EF4-FFF2-40B4-BE49-F238E27FC236}">
                  <a16:creationId xmlns:a16="http://schemas.microsoft.com/office/drawing/2014/main" id="{C3711057-015C-2548-99E1-B67EBF0AC62E}"/>
                </a:ext>
              </a:extLst>
            </p:cNvPr>
            <p:cNvGrpSpPr/>
            <p:nvPr/>
          </p:nvGrpSpPr>
          <p:grpSpPr>
            <a:xfrm>
              <a:off x="5324510" y="2505931"/>
              <a:ext cx="591862" cy="587828"/>
              <a:chOff x="10257340" y="1680054"/>
              <a:chExt cx="394878" cy="392187"/>
            </a:xfrm>
          </p:grpSpPr>
          <p:sp>
            <p:nvSpPr>
              <p:cNvPr id="183" name="Rectangle 182">
                <a:extLst>
                  <a:ext uri="{FF2B5EF4-FFF2-40B4-BE49-F238E27FC236}">
                    <a16:creationId xmlns:a16="http://schemas.microsoft.com/office/drawing/2014/main" id="{873CC2D7-4E21-994A-A362-222905E3256A}"/>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4" name="Picture 183" descr="Image result for azure functions logo png">
                <a:extLst>
                  <a:ext uri="{FF2B5EF4-FFF2-40B4-BE49-F238E27FC236}">
                    <a16:creationId xmlns:a16="http://schemas.microsoft.com/office/drawing/2014/main" id="{BB0BFA9B-14D3-204F-AEDE-8534406C1D38}"/>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81" name="Group 280">
            <a:extLst>
              <a:ext uri="{FF2B5EF4-FFF2-40B4-BE49-F238E27FC236}">
                <a16:creationId xmlns:a16="http://schemas.microsoft.com/office/drawing/2014/main" id="{5B153332-CC43-1749-8FC6-8801D34C5DE1}"/>
              </a:ext>
            </a:extLst>
          </p:cNvPr>
          <p:cNvGrpSpPr/>
          <p:nvPr/>
        </p:nvGrpSpPr>
        <p:grpSpPr>
          <a:xfrm>
            <a:off x="4956744" y="3976026"/>
            <a:ext cx="1010103" cy="438912"/>
            <a:chOff x="9620250" y="3174132"/>
            <a:chExt cx="1010103" cy="438912"/>
          </a:xfrm>
        </p:grpSpPr>
        <p:cxnSp>
          <p:nvCxnSpPr>
            <p:cNvPr id="282" name="Straight Arrow Connector 281">
              <a:extLst>
                <a:ext uri="{FF2B5EF4-FFF2-40B4-BE49-F238E27FC236}">
                  <a16:creationId xmlns:a16="http://schemas.microsoft.com/office/drawing/2014/main" id="{E2961E76-72EF-104A-936F-557965E27BC2}"/>
                </a:ext>
              </a:extLst>
            </p:cNvPr>
            <p:cNvCxnSpPr>
              <a:cxnSpLocks/>
            </p:cNvCxnSpPr>
            <p:nvPr/>
          </p:nvCxnSpPr>
          <p:spPr>
            <a:xfrm>
              <a:off x="9620250" y="3394722"/>
              <a:ext cx="1010103" cy="0"/>
            </a:xfrm>
            <a:prstGeom prst="straightConnector1">
              <a:avLst/>
            </a:prstGeom>
            <a:ln w="25400">
              <a:solidFill>
                <a:srgbClr val="0078D7"/>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46A2BF0A-B43F-5047-BDC4-39C5DF85A9F0}"/>
                </a:ext>
              </a:extLst>
            </p:cNvPr>
            <p:cNvGrpSpPr/>
            <p:nvPr/>
          </p:nvGrpSpPr>
          <p:grpSpPr>
            <a:xfrm>
              <a:off x="9810561" y="3174132"/>
              <a:ext cx="438912" cy="438912"/>
              <a:chOff x="6960232" y="1770578"/>
              <a:chExt cx="438912" cy="438912"/>
            </a:xfrm>
          </p:grpSpPr>
          <p:sp>
            <p:nvSpPr>
              <p:cNvPr id="285" name="Oval 284">
                <a:extLst>
                  <a:ext uri="{FF2B5EF4-FFF2-40B4-BE49-F238E27FC236}">
                    <a16:creationId xmlns:a16="http://schemas.microsoft.com/office/drawing/2014/main" id="{0105C335-3449-4C4D-8419-A89860EB5963}"/>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6" name="Freeform 85">
                <a:extLst>
                  <a:ext uri="{FF2B5EF4-FFF2-40B4-BE49-F238E27FC236}">
                    <a16:creationId xmlns:a16="http://schemas.microsoft.com/office/drawing/2014/main" id="{E71A3A1E-365A-034D-83DD-7DA115347A2C}"/>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spTree>
    <p:extLst>
      <p:ext uri="{BB962C8B-B14F-4D97-AF65-F5344CB8AC3E}">
        <p14:creationId xmlns:p14="http://schemas.microsoft.com/office/powerpoint/2010/main" val="160356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Real-time file processing</a:t>
            </a: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endParaRPr lang="en-US"/>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916905"/>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Patient records are securely uploaded as PDF files. That data is then decomposed, processed using OCR detection, and added to a database for easy queries.</a:t>
            </a:r>
          </a:p>
          <a:p>
            <a:pPr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Healthcare</a:t>
            </a:r>
          </a:p>
        </p:txBody>
      </p:sp>
      <p:pic>
        <p:nvPicPr>
          <p:cNvPr id="69" name="Picture 68" descr="A person wearing a suit and tie&#10;&#10;Description generated with very high confidence">
            <a:extLst>
              <a:ext uri="{FF2B5EF4-FFF2-40B4-BE49-F238E27FC236}">
                <a16:creationId xmlns:a16="http://schemas.microsoft.com/office/drawing/2014/main" id="{71582B84-5C6D-C740-90D5-BE0C57CEE24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0136433" y="0"/>
            <a:ext cx="2292823" cy="6994525"/>
          </a:xfrm>
          <a:prstGeom prst="rect">
            <a:avLst/>
          </a:prstGeom>
        </p:spPr>
      </p:pic>
      <p:sp>
        <p:nvSpPr>
          <p:cNvPr id="192" name="TextBox 191">
            <a:extLst>
              <a:ext uri="{FF2B5EF4-FFF2-40B4-BE49-F238E27FC236}">
                <a16:creationId xmlns:a16="http://schemas.microsoft.com/office/drawing/2014/main" id="{8170A636-2599-E14C-85B4-BCED48D43F4A}"/>
              </a:ext>
            </a:extLst>
          </p:cNvPr>
          <p:cNvSpPr txBox="1"/>
          <p:nvPr/>
        </p:nvSpPr>
        <p:spPr>
          <a:xfrm>
            <a:off x="8133459" y="5755651"/>
            <a:ext cx="193189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Structured data from file sent to SQL DB</a:t>
            </a:r>
          </a:p>
        </p:txBody>
      </p:sp>
      <p:grpSp>
        <p:nvGrpSpPr>
          <p:cNvPr id="3" name="Group 2">
            <a:extLst>
              <a:ext uri="{FF2B5EF4-FFF2-40B4-BE49-F238E27FC236}">
                <a16:creationId xmlns:a16="http://schemas.microsoft.com/office/drawing/2014/main" id="{131D1252-0A4B-4747-B9AA-61402CDBB825}"/>
              </a:ext>
            </a:extLst>
          </p:cNvPr>
          <p:cNvGrpSpPr/>
          <p:nvPr/>
        </p:nvGrpSpPr>
        <p:grpSpPr>
          <a:xfrm>
            <a:off x="422250" y="2940232"/>
            <a:ext cx="9234721" cy="3461750"/>
            <a:chOff x="422250" y="2660806"/>
            <a:chExt cx="9234721" cy="3461750"/>
          </a:xfrm>
        </p:grpSpPr>
        <p:sp>
          <p:nvSpPr>
            <p:cNvPr id="158" name="Flowchart: Magnetic Disk 151">
              <a:extLst>
                <a:ext uri="{FF2B5EF4-FFF2-40B4-BE49-F238E27FC236}">
                  <a16:creationId xmlns:a16="http://schemas.microsoft.com/office/drawing/2014/main" id="{8472368F-88CD-A245-84D0-CC1175DB262F}"/>
                </a:ext>
              </a:extLst>
            </p:cNvPr>
            <p:cNvSpPr/>
            <p:nvPr/>
          </p:nvSpPr>
          <p:spPr>
            <a:xfrm>
              <a:off x="8542398" y="3751117"/>
              <a:ext cx="1114573" cy="1606843"/>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Rectangle 169">
              <a:extLst>
                <a:ext uri="{FF2B5EF4-FFF2-40B4-BE49-F238E27FC236}">
                  <a16:creationId xmlns:a16="http://schemas.microsoft.com/office/drawing/2014/main" id="{A45A0AD2-A94F-4B4B-A724-60826F9A7CE2}"/>
                </a:ext>
              </a:extLst>
            </p:cNvPr>
            <p:cNvSpPr/>
            <p:nvPr/>
          </p:nvSpPr>
          <p:spPr>
            <a:xfrm>
              <a:off x="8843935" y="3677359"/>
              <a:ext cx="511498" cy="4373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Arc 168">
              <a:extLst>
                <a:ext uri="{FF2B5EF4-FFF2-40B4-BE49-F238E27FC236}">
                  <a16:creationId xmlns:a16="http://schemas.microsoft.com/office/drawing/2014/main" id="{5E3DACEB-4144-5A4F-A4A0-24BBCFA11221}"/>
                </a:ext>
              </a:extLst>
            </p:cNvPr>
            <p:cNvSpPr/>
            <p:nvPr/>
          </p:nvSpPr>
          <p:spPr>
            <a:xfrm>
              <a:off x="6988965" y="2660806"/>
              <a:ext cx="2159969" cy="2813547"/>
            </a:xfrm>
            <a:prstGeom prst="arc">
              <a:avLst>
                <a:gd name="adj1" fmla="val 10857285"/>
                <a:gd name="adj2" fmla="val 21422163"/>
              </a:avLst>
            </a:prstGeom>
            <a:ln w="2540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Shape 115">
              <a:extLst>
                <a:ext uri="{FF2B5EF4-FFF2-40B4-BE49-F238E27FC236}">
                  <a16:creationId xmlns:a16="http://schemas.microsoft.com/office/drawing/2014/main" id="{E526A8D9-BB99-E647-ACB5-405087BB2C04}"/>
                </a:ext>
              </a:extLst>
            </p:cNvPr>
            <p:cNvSpPr/>
            <p:nvPr/>
          </p:nvSpPr>
          <p:spPr>
            <a:xfrm rot="20250735">
              <a:off x="576268" y="3249421"/>
              <a:ext cx="1938281" cy="239548"/>
            </a:xfrm>
            <a:custGeom>
              <a:avLst/>
              <a:gdLst>
                <a:gd name="connsiteX0" fmla="*/ 90493 w 1618488"/>
                <a:gd name="connsiteY0" fmla="*/ 0 h 200025"/>
                <a:gd name="connsiteX1" fmla="*/ 1528757 w 1618488"/>
                <a:gd name="connsiteY1" fmla="*/ 0 h 200025"/>
                <a:gd name="connsiteX2" fmla="*/ 1612139 w 1618488"/>
                <a:gd name="connsiteY2" fmla="*/ 55269 h 200025"/>
                <a:gd name="connsiteX3" fmla="*/ 1618488 w 1618488"/>
                <a:gd name="connsiteY3" fmla="*/ 86719 h 200025"/>
                <a:gd name="connsiteX4" fmla="*/ 1618488 w 1618488"/>
                <a:gd name="connsiteY4" fmla="*/ 200025 h 200025"/>
                <a:gd name="connsiteX5" fmla="*/ 0 w 1618488"/>
                <a:gd name="connsiteY5" fmla="*/ 200025 h 200025"/>
                <a:gd name="connsiteX6" fmla="*/ 0 w 1618488"/>
                <a:gd name="connsiteY6" fmla="*/ 90493 h 200025"/>
                <a:gd name="connsiteX7" fmla="*/ 90493 w 1618488"/>
                <a:gd name="connsiteY7"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8488" h="200025">
                  <a:moveTo>
                    <a:pt x="90493" y="0"/>
                  </a:moveTo>
                  <a:lnTo>
                    <a:pt x="1528757" y="0"/>
                  </a:lnTo>
                  <a:cubicBezTo>
                    <a:pt x="1566241" y="0"/>
                    <a:pt x="1598401" y="22790"/>
                    <a:pt x="1612139" y="55269"/>
                  </a:cubicBezTo>
                  <a:lnTo>
                    <a:pt x="1618488" y="86719"/>
                  </a:lnTo>
                  <a:lnTo>
                    <a:pt x="1618488" y="200025"/>
                  </a:lnTo>
                  <a:lnTo>
                    <a:pt x="0" y="200025"/>
                  </a:lnTo>
                  <a:lnTo>
                    <a:pt x="0" y="90493"/>
                  </a:lnTo>
                  <a:cubicBezTo>
                    <a:pt x="0" y="40515"/>
                    <a:pt x="40515" y="0"/>
                    <a:pt x="90493" y="0"/>
                  </a:cubicBezTo>
                  <a:close/>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Freeform 114">
              <a:extLst>
                <a:ext uri="{FF2B5EF4-FFF2-40B4-BE49-F238E27FC236}">
                  <a16:creationId xmlns:a16="http://schemas.microsoft.com/office/drawing/2014/main" id="{750F9FD1-E2F8-234E-B79B-92908652BE8D}"/>
                </a:ext>
              </a:extLst>
            </p:cNvPr>
            <p:cNvSpPr>
              <a:spLocks noChangeAspect="1" noEditPoints="1"/>
            </p:cNvSpPr>
            <p:nvPr/>
          </p:nvSpPr>
          <p:spPr bwMode="black">
            <a:xfrm rot="20656510">
              <a:off x="749620" y="5031999"/>
              <a:ext cx="289232" cy="22858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3" name="Freeform 116">
              <a:extLst>
                <a:ext uri="{FF2B5EF4-FFF2-40B4-BE49-F238E27FC236}">
                  <a16:creationId xmlns:a16="http://schemas.microsoft.com/office/drawing/2014/main" id="{2D19F9C5-34CF-B14A-98DC-C95AEABA7125}"/>
                </a:ext>
              </a:extLst>
            </p:cNvPr>
            <p:cNvSpPr>
              <a:spLocks noChangeAspect="1" noEditPoints="1"/>
            </p:cNvSpPr>
            <p:nvPr/>
          </p:nvSpPr>
          <p:spPr bwMode="black">
            <a:xfrm rot="21280870">
              <a:off x="1064109" y="4868537"/>
              <a:ext cx="212617" cy="169735"/>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74" name="Graphic 34">
              <a:extLst>
                <a:ext uri="{FF2B5EF4-FFF2-40B4-BE49-F238E27FC236}">
                  <a16:creationId xmlns:a16="http://schemas.microsoft.com/office/drawing/2014/main" id="{707DA8FC-6960-584D-B538-0D46CFA6C321}"/>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a:off x="1138996" y="4588364"/>
              <a:ext cx="291623" cy="308778"/>
            </a:xfrm>
            <a:prstGeom prst="rect">
              <a:avLst/>
            </a:prstGeom>
          </p:spPr>
        </p:pic>
        <p:grpSp>
          <p:nvGrpSpPr>
            <p:cNvPr id="75" name="Group 74">
              <a:extLst>
                <a:ext uri="{FF2B5EF4-FFF2-40B4-BE49-F238E27FC236}">
                  <a16:creationId xmlns:a16="http://schemas.microsoft.com/office/drawing/2014/main" id="{637BDB12-EA6F-374F-8FDF-98D04A2584D9}"/>
                </a:ext>
              </a:extLst>
            </p:cNvPr>
            <p:cNvGrpSpPr/>
            <p:nvPr/>
          </p:nvGrpSpPr>
          <p:grpSpPr>
            <a:xfrm rot="595383">
              <a:off x="1125440" y="5090902"/>
              <a:ext cx="195509" cy="249091"/>
              <a:chOff x="6729591" y="1625806"/>
              <a:chExt cx="921225" cy="1173706"/>
            </a:xfrm>
          </p:grpSpPr>
          <p:sp>
            <p:nvSpPr>
              <p:cNvPr id="76" name="Rectangle 68">
                <a:extLst>
                  <a:ext uri="{FF2B5EF4-FFF2-40B4-BE49-F238E27FC236}">
                    <a16:creationId xmlns:a16="http://schemas.microsoft.com/office/drawing/2014/main" id="{2FBD83B0-5406-4349-ACA1-9FACDA9B1FD1}"/>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Isosceles Triangle 288">
                <a:extLst>
                  <a:ext uri="{FF2B5EF4-FFF2-40B4-BE49-F238E27FC236}">
                    <a16:creationId xmlns:a16="http://schemas.microsoft.com/office/drawing/2014/main" id="{CD92D2A6-52D2-C443-AD50-EF14CE8CC3CC}"/>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8" name="Straight Connector 77">
                <a:extLst>
                  <a:ext uri="{FF2B5EF4-FFF2-40B4-BE49-F238E27FC236}">
                    <a16:creationId xmlns:a16="http://schemas.microsoft.com/office/drawing/2014/main" id="{DD93DB04-3AB5-D145-9A67-45DBE153DC0C}"/>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9492602-6DE5-D244-9703-5578F236CEB5}"/>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DEE29D1-3A0D-D243-8E72-EE86603FCA12}"/>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81" name="Freeform 116">
              <a:extLst>
                <a:ext uri="{FF2B5EF4-FFF2-40B4-BE49-F238E27FC236}">
                  <a16:creationId xmlns:a16="http://schemas.microsoft.com/office/drawing/2014/main" id="{E7890F4A-6292-7144-8466-0C34971EE6FC}"/>
                </a:ext>
              </a:extLst>
            </p:cNvPr>
            <p:cNvSpPr>
              <a:spLocks noChangeAspect="1" noEditPoints="1"/>
            </p:cNvSpPr>
            <p:nvPr/>
          </p:nvSpPr>
          <p:spPr bwMode="black">
            <a:xfrm rot="1646026">
              <a:off x="1382153" y="5072481"/>
              <a:ext cx="277570" cy="221587"/>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ADA19140-4199-AB4E-B351-FAC86D1406E6}"/>
                </a:ext>
              </a:extLst>
            </p:cNvPr>
            <p:cNvSpPr>
              <a:spLocks noChangeAspect="1" noEditPoints="1"/>
            </p:cNvSpPr>
            <p:nvPr/>
          </p:nvSpPr>
          <p:spPr bwMode="black">
            <a:xfrm rot="1519512">
              <a:off x="1371299" y="4848908"/>
              <a:ext cx="204507" cy="16162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Freeform 114">
              <a:extLst>
                <a:ext uri="{FF2B5EF4-FFF2-40B4-BE49-F238E27FC236}">
                  <a16:creationId xmlns:a16="http://schemas.microsoft.com/office/drawing/2014/main" id="{691C0C6B-FADF-1447-8851-2AB2BC6ACE09}"/>
                </a:ext>
              </a:extLst>
            </p:cNvPr>
            <p:cNvSpPr>
              <a:spLocks noChangeAspect="1" noEditPoints="1"/>
            </p:cNvSpPr>
            <p:nvPr/>
          </p:nvSpPr>
          <p:spPr bwMode="black">
            <a:xfrm rot="20264269">
              <a:off x="1012170" y="4456325"/>
              <a:ext cx="204507" cy="16162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87" name="Group 86">
              <a:extLst>
                <a:ext uri="{FF2B5EF4-FFF2-40B4-BE49-F238E27FC236}">
                  <a16:creationId xmlns:a16="http://schemas.microsoft.com/office/drawing/2014/main" id="{4527AFA3-5229-FE43-9C2D-E051281641D0}"/>
                </a:ext>
              </a:extLst>
            </p:cNvPr>
            <p:cNvGrpSpPr/>
            <p:nvPr/>
          </p:nvGrpSpPr>
          <p:grpSpPr>
            <a:xfrm rot="20592124">
              <a:off x="1647314" y="4705795"/>
              <a:ext cx="281803" cy="359036"/>
              <a:chOff x="6729591" y="1625806"/>
              <a:chExt cx="921225" cy="1173706"/>
            </a:xfrm>
          </p:grpSpPr>
          <p:sp>
            <p:nvSpPr>
              <p:cNvPr id="92" name="Rectangle 68">
                <a:extLst>
                  <a:ext uri="{FF2B5EF4-FFF2-40B4-BE49-F238E27FC236}">
                    <a16:creationId xmlns:a16="http://schemas.microsoft.com/office/drawing/2014/main" id="{99011F1C-3A19-B845-BDE8-80A16D1C242F}"/>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Isosceles Triangle 283">
                <a:extLst>
                  <a:ext uri="{FF2B5EF4-FFF2-40B4-BE49-F238E27FC236}">
                    <a16:creationId xmlns:a16="http://schemas.microsoft.com/office/drawing/2014/main" id="{2AA34E22-3FA6-A644-9160-5BB56D603FAB}"/>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4" name="Straight Connector 93">
                <a:extLst>
                  <a:ext uri="{FF2B5EF4-FFF2-40B4-BE49-F238E27FC236}">
                    <a16:creationId xmlns:a16="http://schemas.microsoft.com/office/drawing/2014/main" id="{03B485A9-8D59-AA45-B396-68E9C0519CAE}"/>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ECE710C-33F3-8D45-A837-62DF2DFF6A31}"/>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5D9FF81-80CF-9446-A00B-5B2F0665236D}"/>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97" name="Graphic 103">
              <a:extLst>
                <a:ext uri="{FF2B5EF4-FFF2-40B4-BE49-F238E27FC236}">
                  <a16:creationId xmlns:a16="http://schemas.microsoft.com/office/drawing/2014/main" id="{C76A09A4-E400-F04D-82EB-68DB0B1DADF6}"/>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rot="20598691">
              <a:off x="1721447" y="5070830"/>
              <a:ext cx="291623" cy="308778"/>
            </a:xfrm>
            <a:prstGeom prst="rect">
              <a:avLst/>
            </a:prstGeom>
          </p:spPr>
        </p:pic>
        <p:sp>
          <p:nvSpPr>
            <p:cNvPr id="98" name="Freeform 114">
              <a:extLst>
                <a:ext uri="{FF2B5EF4-FFF2-40B4-BE49-F238E27FC236}">
                  <a16:creationId xmlns:a16="http://schemas.microsoft.com/office/drawing/2014/main" id="{539AD559-D7E3-7F4C-8A78-28E5D3AC5CC6}"/>
                </a:ext>
              </a:extLst>
            </p:cNvPr>
            <p:cNvSpPr>
              <a:spLocks noChangeAspect="1" noEditPoints="1"/>
            </p:cNvSpPr>
            <p:nvPr/>
          </p:nvSpPr>
          <p:spPr bwMode="black">
            <a:xfrm>
              <a:off x="2043569" y="5099552"/>
              <a:ext cx="292469" cy="231146"/>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99" name="Group 98">
              <a:extLst>
                <a:ext uri="{FF2B5EF4-FFF2-40B4-BE49-F238E27FC236}">
                  <a16:creationId xmlns:a16="http://schemas.microsoft.com/office/drawing/2014/main" id="{78F51EE8-998C-864E-A5D1-A09F35BF29E3}"/>
                </a:ext>
              </a:extLst>
            </p:cNvPr>
            <p:cNvGrpSpPr/>
            <p:nvPr/>
          </p:nvGrpSpPr>
          <p:grpSpPr>
            <a:xfrm rot="1260549">
              <a:off x="2418386" y="5067555"/>
              <a:ext cx="174829" cy="222743"/>
              <a:chOff x="6729591" y="1625806"/>
              <a:chExt cx="921225" cy="1173706"/>
            </a:xfrm>
          </p:grpSpPr>
          <p:sp>
            <p:nvSpPr>
              <p:cNvPr id="100" name="Rectangle 68">
                <a:extLst>
                  <a:ext uri="{FF2B5EF4-FFF2-40B4-BE49-F238E27FC236}">
                    <a16:creationId xmlns:a16="http://schemas.microsoft.com/office/drawing/2014/main" id="{2591360F-BF5A-6045-8CF0-A13754462E19}"/>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Isosceles Triangle 278">
                <a:extLst>
                  <a:ext uri="{FF2B5EF4-FFF2-40B4-BE49-F238E27FC236}">
                    <a16:creationId xmlns:a16="http://schemas.microsoft.com/office/drawing/2014/main" id="{7F08F958-5FA6-884C-8DF7-0A6F0277C702}"/>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2" name="Straight Connector 101">
                <a:extLst>
                  <a:ext uri="{FF2B5EF4-FFF2-40B4-BE49-F238E27FC236}">
                    <a16:creationId xmlns:a16="http://schemas.microsoft.com/office/drawing/2014/main" id="{E0634F74-D1EE-0B4B-BDE6-C278EBE8D6F0}"/>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F71D88E-BD8A-F844-A86E-83FC30AAB9FF}"/>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2C7C797-A68C-8446-A4A8-A0D942AB74B8}"/>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05" name="Freeform: Shape 127">
              <a:extLst>
                <a:ext uri="{FF2B5EF4-FFF2-40B4-BE49-F238E27FC236}">
                  <a16:creationId xmlns:a16="http://schemas.microsoft.com/office/drawing/2014/main" id="{14514EF9-1B8A-DC4A-8D8C-AC17845FF351}"/>
                </a:ext>
              </a:extLst>
            </p:cNvPr>
            <p:cNvSpPr/>
            <p:nvPr/>
          </p:nvSpPr>
          <p:spPr>
            <a:xfrm>
              <a:off x="682561" y="3976653"/>
              <a:ext cx="1938281" cy="1373602"/>
            </a:xfrm>
            <a:custGeom>
              <a:avLst/>
              <a:gdLst>
                <a:gd name="connsiteX0" fmla="*/ 0 w 1618488"/>
                <a:gd name="connsiteY0" fmla="*/ 0 h 1142999"/>
                <a:gd name="connsiteX1" fmla="*/ 1618488 w 1618488"/>
                <a:gd name="connsiteY1" fmla="*/ 0 h 1142999"/>
                <a:gd name="connsiteX2" fmla="*/ 1618488 w 1618488"/>
                <a:gd name="connsiteY2" fmla="*/ 1056281 h 1142999"/>
                <a:gd name="connsiteX3" fmla="*/ 1612139 w 1618488"/>
                <a:gd name="connsiteY3" fmla="*/ 1087730 h 1142999"/>
                <a:gd name="connsiteX4" fmla="*/ 1528757 w 1618488"/>
                <a:gd name="connsiteY4" fmla="*/ 1142999 h 1142999"/>
                <a:gd name="connsiteX5" fmla="*/ 90493 w 1618488"/>
                <a:gd name="connsiteY5" fmla="*/ 1142999 h 1142999"/>
                <a:gd name="connsiteX6" fmla="*/ 0 w 1618488"/>
                <a:gd name="connsiteY6" fmla="*/ 105250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91440 w 1618488"/>
                <a:gd name="connsiteY6" fmla="*/ 91440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3975 w 1618488"/>
                <a:gd name="connsiteY6" fmla="*/ 397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63610 w 1618488"/>
                <a:gd name="connsiteY6" fmla="*/ 35782 h 1142999"/>
                <a:gd name="connsiteX0" fmla="*/ 1618488 w 1618488"/>
                <a:gd name="connsiteY0" fmla="*/ 3975 h 1146974"/>
                <a:gd name="connsiteX1" fmla="*/ 1618488 w 1618488"/>
                <a:gd name="connsiteY1" fmla="*/ 1060256 h 1146974"/>
                <a:gd name="connsiteX2" fmla="*/ 1612139 w 1618488"/>
                <a:gd name="connsiteY2" fmla="*/ 1091705 h 1146974"/>
                <a:gd name="connsiteX3" fmla="*/ 1528757 w 1618488"/>
                <a:gd name="connsiteY3" fmla="*/ 1146974 h 1146974"/>
                <a:gd name="connsiteX4" fmla="*/ 90493 w 1618488"/>
                <a:gd name="connsiteY4" fmla="*/ 1146974 h 1146974"/>
                <a:gd name="connsiteX5" fmla="*/ 0 w 1618488"/>
                <a:gd name="connsiteY5" fmla="*/ 1056481 h 1146974"/>
                <a:gd name="connsiteX6" fmla="*/ 0 w 1618488"/>
                <a:gd name="connsiteY6" fmla="*/ 0 h 114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8488" h="1146974">
                  <a:moveTo>
                    <a:pt x="1618488" y="3975"/>
                  </a:moveTo>
                  <a:lnTo>
                    <a:pt x="1618488" y="1060256"/>
                  </a:lnTo>
                  <a:lnTo>
                    <a:pt x="1612139" y="1091705"/>
                  </a:lnTo>
                  <a:cubicBezTo>
                    <a:pt x="1598401" y="1124184"/>
                    <a:pt x="1566241" y="1146974"/>
                    <a:pt x="1528757" y="1146974"/>
                  </a:cubicBezTo>
                  <a:lnTo>
                    <a:pt x="90493" y="1146974"/>
                  </a:lnTo>
                  <a:cubicBezTo>
                    <a:pt x="40515" y="1146974"/>
                    <a:pt x="0" y="1106459"/>
                    <a:pt x="0" y="1056481"/>
                  </a:cubicBezTo>
                  <a:lnTo>
                    <a:pt x="0" y="0"/>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4D70DFB8-7247-9D4C-ADFC-020B82F3F0CB}"/>
                </a:ext>
              </a:extLst>
            </p:cNvPr>
            <p:cNvSpPr/>
            <p:nvPr/>
          </p:nvSpPr>
          <p:spPr>
            <a:xfrm>
              <a:off x="422250" y="4403016"/>
              <a:ext cx="525636" cy="5256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7" name="Group 106">
              <a:extLst>
                <a:ext uri="{FF2B5EF4-FFF2-40B4-BE49-F238E27FC236}">
                  <a16:creationId xmlns:a16="http://schemas.microsoft.com/office/drawing/2014/main" id="{5065BD16-C4CB-9C41-A4AF-C3E8DCFB6A85}"/>
                </a:ext>
              </a:extLst>
            </p:cNvPr>
            <p:cNvGrpSpPr/>
            <p:nvPr/>
          </p:nvGrpSpPr>
          <p:grpSpPr>
            <a:xfrm rot="19579818">
              <a:off x="869920" y="4668744"/>
              <a:ext cx="195509" cy="249091"/>
              <a:chOff x="6729591" y="1625806"/>
              <a:chExt cx="921225" cy="1173706"/>
            </a:xfrm>
          </p:grpSpPr>
          <p:sp>
            <p:nvSpPr>
              <p:cNvPr id="108" name="Rectangle 68">
                <a:extLst>
                  <a:ext uri="{FF2B5EF4-FFF2-40B4-BE49-F238E27FC236}">
                    <a16:creationId xmlns:a16="http://schemas.microsoft.com/office/drawing/2014/main" id="{E1A7BD33-DF05-BE4B-9BAF-E63828EF778E}"/>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Isosceles Triangle 273">
                <a:extLst>
                  <a:ext uri="{FF2B5EF4-FFF2-40B4-BE49-F238E27FC236}">
                    <a16:creationId xmlns:a16="http://schemas.microsoft.com/office/drawing/2014/main" id="{FC65BAA6-7821-AA4B-B1B3-E5A9396662DD}"/>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1" name="Straight Connector 110">
                <a:extLst>
                  <a:ext uri="{FF2B5EF4-FFF2-40B4-BE49-F238E27FC236}">
                    <a16:creationId xmlns:a16="http://schemas.microsoft.com/office/drawing/2014/main" id="{063D43D4-FF89-4E41-A102-D400CA832C9C}"/>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411D910-299D-CA4C-ABE2-DBCA83B3EC51}"/>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AEC2F229-8662-4B44-8D7C-777B30D2A05D}"/>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14" name="Picture 113" descr="A stop sign&#10;&#10;Description generated with high confidence">
              <a:extLst>
                <a:ext uri="{FF2B5EF4-FFF2-40B4-BE49-F238E27FC236}">
                  <a16:creationId xmlns:a16="http://schemas.microsoft.com/office/drawing/2014/main" id="{FE51300B-D738-B146-B7AC-3A87F4BD9E0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66053" y="4446819"/>
              <a:ext cx="438030" cy="438030"/>
            </a:xfrm>
            <a:prstGeom prst="rect">
              <a:avLst/>
            </a:prstGeom>
          </p:spPr>
        </p:pic>
        <p:sp>
          <p:nvSpPr>
            <p:cNvPr id="115" name="Rectangle: Rounded Corners 131">
              <a:extLst>
                <a:ext uri="{FF2B5EF4-FFF2-40B4-BE49-F238E27FC236}">
                  <a16:creationId xmlns:a16="http://schemas.microsoft.com/office/drawing/2014/main" id="{8C67B262-888C-FE49-B791-1E14ADD78D99}"/>
                </a:ext>
              </a:extLst>
            </p:cNvPr>
            <p:cNvSpPr/>
            <p:nvPr/>
          </p:nvSpPr>
          <p:spPr>
            <a:xfrm>
              <a:off x="3918311" y="4034190"/>
              <a:ext cx="1325040" cy="1319741"/>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Freeform: Shape 133">
              <a:extLst>
                <a:ext uri="{FF2B5EF4-FFF2-40B4-BE49-F238E27FC236}">
                  <a16:creationId xmlns:a16="http://schemas.microsoft.com/office/drawing/2014/main" id="{13230E93-659B-3E41-A452-6A52ABA85BCB}"/>
                </a:ext>
              </a:extLst>
            </p:cNvPr>
            <p:cNvSpPr/>
            <p:nvPr/>
          </p:nvSpPr>
          <p:spPr>
            <a:xfrm>
              <a:off x="2337780" y="3504655"/>
              <a:ext cx="1250577" cy="1136747"/>
            </a:xfrm>
            <a:custGeom>
              <a:avLst/>
              <a:gdLst>
                <a:gd name="connsiteX0" fmla="*/ 0 w 1405719"/>
                <a:gd name="connsiteY0" fmla="*/ 344407 h 949197"/>
                <a:gd name="connsiteX1" fmla="*/ 382137 w 1405719"/>
                <a:gd name="connsiteY1" fmla="*/ 16861 h 949197"/>
                <a:gd name="connsiteX2" fmla="*/ 846161 w 1405719"/>
                <a:gd name="connsiteY2" fmla="*/ 808431 h 949197"/>
                <a:gd name="connsiteX3" fmla="*/ 1405719 w 1405719"/>
                <a:gd name="connsiteY3" fmla="*/ 944909 h 949197"/>
              </a:gdLst>
              <a:ahLst/>
              <a:cxnLst>
                <a:cxn ang="0">
                  <a:pos x="connsiteX0" y="connsiteY0"/>
                </a:cxn>
                <a:cxn ang="0">
                  <a:pos x="connsiteX1" y="connsiteY1"/>
                </a:cxn>
                <a:cxn ang="0">
                  <a:pos x="connsiteX2" y="connsiteY2"/>
                </a:cxn>
                <a:cxn ang="0">
                  <a:pos x="connsiteX3" y="connsiteY3"/>
                </a:cxn>
              </a:cxnLst>
              <a:rect l="l" t="t" r="r" b="b"/>
              <a:pathLst>
                <a:path w="1405719" h="949197">
                  <a:moveTo>
                    <a:pt x="0" y="344407"/>
                  </a:moveTo>
                  <a:cubicBezTo>
                    <a:pt x="120555" y="141965"/>
                    <a:pt x="241110" y="-60476"/>
                    <a:pt x="382137" y="16861"/>
                  </a:cubicBezTo>
                  <a:cubicBezTo>
                    <a:pt x="523164" y="94198"/>
                    <a:pt x="675564" y="653756"/>
                    <a:pt x="846161" y="808431"/>
                  </a:cubicBezTo>
                  <a:cubicBezTo>
                    <a:pt x="1016758" y="963106"/>
                    <a:pt x="1211238" y="954007"/>
                    <a:pt x="1405719" y="944909"/>
                  </a:cubicBezTo>
                </a:path>
              </a:pathLst>
            </a:custGeom>
            <a:noFill/>
            <a:ln w="31750">
              <a:solidFill>
                <a:srgbClr val="A8A9AD"/>
              </a:solidFill>
              <a:headEnd type="none"/>
              <a:tailEnd type="arrow" w="lg"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Oval 117">
              <a:extLst>
                <a:ext uri="{FF2B5EF4-FFF2-40B4-BE49-F238E27FC236}">
                  <a16:creationId xmlns:a16="http://schemas.microsoft.com/office/drawing/2014/main" id="{5BD5E55A-8FFB-B347-933B-1EC4BE1ED356}"/>
                </a:ext>
              </a:extLst>
            </p:cNvPr>
            <p:cNvSpPr/>
            <p:nvPr/>
          </p:nvSpPr>
          <p:spPr>
            <a:xfrm>
              <a:off x="9017554" y="5169829"/>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Oval 118">
              <a:extLst>
                <a:ext uri="{FF2B5EF4-FFF2-40B4-BE49-F238E27FC236}">
                  <a16:creationId xmlns:a16="http://schemas.microsoft.com/office/drawing/2014/main" id="{A39DA5E8-E70B-994F-8F1A-CEE12D599DA6}"/>
                </a:ext>
              </a:extLst>
            </p:cNvPr>
            <p:cNvSpPr/>
            <p:nvPr/>
          </p:nvSpPr>
          <p:spPr>
            <a:xfrm>
              <a:off x="9464035" y="5020436"/>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Oval 119">
              <a:extLst>
                <a:ext uri="{FF2B5EF4-FFF2-40B4-BE49-F238E27FC236}">
                  <a16:creationId xmlns:a16="http://schemas.microsoft.com/office/drawing/2014/main" id="{FB73135C-72C8-9142-B35B-19BB7F1A74D8}"/>
                </a:ext>
              </a:extLst>
            </p:cNvPr>
            <p:cNvSpPr/>
            <p:nvPr/>
          </p:nvSpPr>
          <p:spPr>
            <a:xfrm>
              <a:off x="9330849" y="5111344"/>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Oval 120">
              <a:extLst>
                <a:ext uri="{FF2B5EF4-FFF2-40B4-BE49-F238E27FC236}">
                  <a16:creationId xmlns:a16="http://schemas.microsoft.com/office/drawing/2014/main" id="{F6053DAB-302A-7342-B8D1-ED150A65EE79}"/>
                </a:ext>
              </a:extLst>
            </p:cNvPr>
            <p:cNvSpPr/>
            <p:nvPr/>
          </p:nvSpPr>
          <p:spPr>
            <a:xfrm>
              <a:off x="9175113" y="5158555"/>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Oval 121">
              <a:extLst>
                <a:ext uri="{FF2B5EF4-FFF2-40B4-BE49-F238E27FC236}">
                  <a16:creationId xmlns:a16="http://schemas.microsoft.com/office/drawing/2014/main" id="{5C7CD202-E7DB-6348-8946-507273585670}"/>
                </a:ext>
              </a:extLst>
            </p:cNvPr>
            <p:cNvSpPr/>
            <p:nvPr/>
          </p:nvSpPr>
          <p:spPr>
            <a:xfrm flipH="1">
              <a:off x="8704922" y="5111344"/>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Oval 122">
              <a:extLst>
                <a:ext uri="{FF2B5EF4-FFF2-40B4-BE49-F238E27FC236}">
                  <a16:creationId xmlns:a16="http://schemas.microsoft.com/office/drawing/2014/main" id="{CCB96C87-3440-8B4D-B657-12C906E1A1E9}"/>
                </a:ext>
              </a:extLst>
            </p:cNvPr>
            <p:cNvSpPr/>
            <p:nvPr/>
          </p:nvSpPr>
          <p:spPr>
            <a:xfrm flipH="1">
              <a:off x="8860658" y="5158555"/>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Oval 143">
              <a:extLst>
                <a:ext uri="{FF2B5EF4-FFF2-40B4-BE49-F238E27FC236}">
                  <a16:creationId xmlns:a16="http://schemas.microsoft.com/office/drawing/2014/main" id="{64DC6CC3-7CAE-8C45-A13B-1F3370AFDFC9}"/>
                </a:ext>
              </a:extLst>
            </p:cNvPr>
            <p:cNvSpPr/>
            <p:nvPr/>
          </p:nvSpPr>
          <p:spPr>
            <a:xfrm>
              <a:off x="9253964" y="497527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Oval 144">
              <a:extLst>
                <a:ext uri="{FF2B5EF4-FFF2-40B4-BE49-F238E27FC236}">
                  <a16:creationId xmlns:a16="http://schemas.microsoft.com/office/drawing/2014/main" id="{7301F9BA-6637-6547-B985-8D0F96933439}"/>
                </a:ext>
              </a:extLst>
            </p:cNvPr>
            <p:cNvSpPr/>
            <p:nvPr/>
          </p:nvSpPr>
          <p:spPr>
            <a:xfrm>
              <a:off x="8951846" y="5025623"/>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Oval 145">
              <a:extLst>
                <a:ext uri="{FF2B5EF4-FFF2-40B4-BE49-F238E27FC236}">
                  <a16:creationId xmlns:a16="http://schemas.microsoft.com/office/drawing/2014/main" id="{D5BF2176-0C8A-E747-84D6-6B3C40CACC37}"/>
                </a:ext>
              </a:extLst>
            </p:cNvPr>
            <p:cNvSpPr/>
            <p:nvPr/>
          </p:nvSpPr>
          <p:spPr>
            <a:xfrm>
              <a:off x="9103694" y="501603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B7D1519-169C-4F44-B4ED-2DBA2F4BD8D1}"/>
                </a:ext>
              </a:extLst>
            </p:cNvPr>
            <p:cNvSpPr/>
            <p:nvPr/>
          </p:nvSpPr>
          <p:spPr>
            <a:xfrm>
              <a:off x="8795407" y="4979115"/>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Oval 147">
              <a:extLst>
                <a:ext uri="{FF2B5EF4-FFF2-40B4-BE49-F238E27FC236}">
                  <a16:creationId xmlns:a16="http://schemas.microsoft.com/office/drawing/2014/main" id="{39274A02-2415-B546-8BFA-3764F43E8D96}"/>
                </a:ext>
              </a:extLst>
            </p:cNvPr>
            <p:cNvSpPr/>
            <p:nvPr/>
          </p:nvSpPr>
          <p:spPr>
            <a:xfrm>
              <a:off x="9380614" y="4880742"/>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5" name="Oval 154">
              <a:extLst>
                <a:ext uri="{FF2B5EF4-FFF2-40B4-BE49-F238E27FC236}">
                  <a16:creationId xmlns:a16="http://schemas.microsoft.com/office/drawing/2014/main" id="{8BCB620C-898A-BC40-A7C4-5FCE143A03BA}"/>
                </a:ext>
              </a:extLst>
            </p:cNvPr>
            <p:cNvSpPr/>
            <p:nvPr/>
          </p:nvSpPr>
          <p:spPr>
            <a:xfrm>
              <a:off x="9069072" y="487083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Oval 155">
              <a:extLst>
                <a:ext uri="{FF2B5EF4-FFF2-40B4-BE49-F238E27FC236}">
                  <a16:creationId xmlns:a16="http://schemas.microsoft.com/office/drawing/2014/main" id="{E5FB18EB-37DE-6540-8965-962C653C3A09}"/>
                </a:ext>
              </a:extLst>
            </p:cNvPr>
            <p:cNvSpPr/>
            <p:nvPr/>
          </p:nvSpPr>
          <p:spPr>
            <a:xfrm>
              <a:off x="9219889" y="4827970"/>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 name="Oval 156">
              <a:extLst>
                <a:ext uri="{FF2B5EF4-FFF2-40B4-BE49-F238E27FC236}">
                  <a16:creationId xmlns:a16="http://schemas.microsoft.com/office/drawing/2014/main" id="{B03A3817-CC10-7A43-8ABD-A96BF4E7E87C}"/>
                </a:ext>
              </a:extLst>
            </p:cNvPr>
            <p:cNvSpPr/>
            <p:nvPr/>
          </p:nvSpPr>
          <p:spPr>
            <a:xfrm>
              <a:off x="9106738" y="4718023"/>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Rectangle 158">
              <a:extLst>
                <a:ext uri="{FF2B5EF4-FFF2-40B4-BE49-F238E27FC236}">
                  <a16:creationId xmlns:a16="http://schemas.microsoft.com/office/drawing/2014/main" id="{B44ADDE8-7B0A-584E-948B-193E96394750}"/>
                </a:ext>
              </a:extLst>
            </p:cNvPr>
            <p:cNvSpPr/>
            <p:nvPr/>
          </p:nvSpPr>
          <p:spPr>
            <a:xfrm>
              <a:off x="8275858" y="4391490"/>
              <a:ext cx="525636" cy="5256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Oval 159">
              <a:extLst>
                <a:ext uri="{FF2B5EF4-FFF2-40B4-BE49-F238E27FC236}">
                  <a16:creationId xmlns:a16="http://schemas.microsoft.com/office/drawing/2014/main" id="{8552718E-C7D1-3A4F-8D67-C1F0D9C2C3AD}"/>
                </a:ext>
              </a:extLst>
            </p:cNvPr>
            <p:cNvSpPr/>
            <p:nvPr/>
          </p:nvSpPr>
          <p:spPr>
            <a:xfrm>
              <a:off x="8911395" y="4873758"/>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5" name="Graphic 195">
              <a:extLst>
                <a:ext uri="{FF2B5EF4-FFF2-40B4-BE49-F238E27FC236}">
                  <a16:creationId xmlns:a16="http://schemas.microsoft.com/office/drawing/2014/main" id="{1602F5FB-A29D-644D-80F0-A8546679C1AD}"/>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330611" y="4446244"/>
              <a:ext cx="416128" cy="416128"/>
            </a:xfrm>
            <a:prstGeom prst="rect">
              <a:avLst/>
            </a:prstGeom>
          </p:spPr>
        </p:pic>
        <p:sp>
          <p:nvSpPr>
            <p:cNvPr id="171" name="TextBox 170">
              <a:extLst>
                <a:ext uri="{FF2B5EF4-FFF2-40B4-BE49-F238E27FC236}">
                  <a16:creationId xmlns:a16="http://schemas.microsoft.com/office/drawing/2014/main" id="{FB7E8F0B-8F30-BC41-9D24-7E97211E870B}"/>
                </a:ext>
              </a:extLst>
            </p:cNvPr>
            <p:cNvSpPr txBox="1"/>
            <p:nvPr/>
          </p:nvSpPr>
          <p:spPr>
            <a:xfrm>
              <a:off x="722237" y="5476225"/>
              <a:ext cx="1844144"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PDF file added to Blob Storage</a:t>
              </a:r>
            </a:p>
          </p:txBody>
        </p:sp>
        <p:sp>
          <p:nvSpPr>
            <p:cNvPr id="174" name="TextBox 173">
              <a:extLst>
                <a:ext uri="{FF2B5EF4-FFF2-40B4-BE49-F238E27FC236}">
                  <a16:creationId xmlns:a16="http://schemas.microsoft.com/office/drawing/2014/main" id="{45AA8CC1-853E-0348-9C12-81D97E008ABB}"/>
                </a:ext>
              </a:extLst>
            </p:cNvPr>
            <p:cNvSpPr txBox="1"/>
            <p:nvPr/>
          </p:nvSpPr>
          <p:spPr>
            <a:xfrm>
              <a:off x="3642142" y="5476225"/>
              <a:ext cx="1896041"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 decomposes PDF file…</a:t>
              </a:r>
            </a:p>
          </p:txBody>
        </p:sp>
        <p:pic>
          <p:nvPicPr>
            <p:cNvPr id="193" name="Picture 192">
              <a:extLst>
                <a:ext uri="{FF2B5EF4-FFF2-40B4-BE49-F238E27FC236}">
                  <a16:creationId xmlns:a16="http://schemas.microsoft.com/office/drawing/2014/main" id="{2C5471EF-F1BC-C747-BE85-DAB237611F01}"/>
                </a:ext>
              </a:extLst>
            </p:cNvPr>
            <p:cNvPicPr>
              <a:picLocks noChangeAspect="1"/>
            </p:cNvPicPr>
            <p:nvPr/>
          </p:nvPicPr>
          <p:blipFill>
            <a:blip r:embed="rId9"/>
            <a:stretch>
              <a:fillRect/>
            </a:stretch>
          </p:blipFill>
          <p:spPr>
            <a:xfrm>
              <a:off x="4227233" y="4337413"/>
              <a:ext cx="707197" cy="713294"/>
            </a:xfrm>
            <a:prstGeom prst="rect">
              <a:avLst/>
            </a:prstGeom>
          </p:spPr>
        </p:pic>
        <p:pic>
          <p:nvPicPr>
            <p:cNvPr id="194" name="Picture 193">
              <a:extLst>
                <a:ext uri="{FF2B5EF4-FFF2-40B4-BE49-F238E27FC236}">
                  <a16:creationId xmlns:a16="http://schemas.microsoft.com/office/drawing/2014/main" id="{85367B13-95DF-A440-9D5A-4F53834019DA}"/>
                </a:ext>
              </a:extLst>
            </p:cNvPr>
            <p:cNvPicPr>
              <a:picLocks noChangeAspect="1"/>
            </p:cNvPicPr>
            <p:nvPr/>
          </p:nvPicPr>
          <p:blipFill>
            <a:blip r:embed="rId9"/>
            <a:stretch>
              <a:fillRect/>
            </a:stretch>
          </p:blipFill>
          <p:spPr>
            <a:xfrm>
              <a:off x="1620831" y="3763672"/>
              <a:ext cx="707197" cy="713294"/>
            </a:xfrm>
            <a:prstGeom prst="rect">
              <a:avLst/>
            </a:prstGeom>
          </p:spPr>
        </p:pic>
        <p:sp>
          <p:nvSpPr>
            <p:cNvPr id="195" name="Rectangle: Rounded Corners 13">
              <a:extLst>
                <a:ext uri="{FF2B5EF4-FFF2-40B4-BE49-F238E27FC236}">
                  <a16:creationId xmlns:a16="http://schemas.microsoft.com/office/drawing/2014/main" id="{D7FB2F41-C005-C849-9EA6-6A4C303FEE96}"/>
                </a:ext>
              </a:extLst>
            </p:cNvPr>
            <p:cNvSpPr/>
            <p:nvPr/>
          </p:nvSpPr>
          <p:spPr>
            <a:xfrm rot="2700000">
              <a:off x="6411763" y="4819300"/>
              <a:ext cx="129654" cy="641444"/>
            </a:xfrm>
            <a:prstGeom prst="roundRect">
              <a:avLst>
                <a:gd name="adj" fmla="val 50000"/>
              </a:avLst>
            </a:prstGeom>
            <a:solidFill>
              <a:srgbClr val="A8A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E97CCBBA-759F-3344-BE9E-863695F80948}"/>
                </a:ext>
              </a:extLst>
            </p:cNvPr>
            <p:cNvSpPr/>
            <p:nvPr/>
          </p:nvSpPr>
          <p:spPr>
            <a:xfrm>
              <a:off x="6536802" y="4183272"/>
              <a:ext cx="908980" cy="908980"/>
            </a:xfrm>
            <a:prstGeom prst="ellipse">
              <a:avLst/>
            </a:prstGeom>
            <a:solidFill>
              <a:srgbClr val="F2F2F2"/>
            </a:solid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7" name="Straight Arrow Connector 196">
              <a:extLst>
                <a:ext uri="{FF2B5EF4-FFF2-40B4-BE49-F238E27FC236}">
                  <a16:creationId xmlns:a16="http://schemas.microsoft.com/office/drawing/2014/main" id="{D4277E1C-123F-E445-BF5E-E2D24E862CC2}"/>
                </a:ext>
              </a:extLst>
            </p:cNvPr>
            <p:cNvCxnSpPr>
              <a:cxnSpLocks/>
            </p:cNvCxnSpPr>
            <p:nvPr/>
          </p:nvCxnSpPr>
          <p:spPr>
            <a:xfrm>
              <a:off x="5437357" y="4632436"/>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grpSp>
          <p:nvGrpSpPr>
            <p:cNvPr id="198" name="Group 197">
              <a:extLst>
                <a:ext uri="{FF2B5EF4-FFF2-40B4-BE49-F238E27FC236}">
                  <a16:creationId xmlns:a16="http://schemas.microsoft.com/office/drawing/2014/main" id="{09A011DF-27D3-2345-9303-4066C2A63364}"/>
                </a:ext>
              </a:extLst>
            </p:cNvPr>
            <p:cNvGrpSpPr/>
            <p:nvPr/>
          </p:nvGrpSpPr>
          <p:grpSpPr>
            <a:xfrm>
              <a:off x="3619194" y="3735739"/>
              <a:ext cx="591862" cy="587828"/>
              <a:chOff x="10257340" y="1680054"/>
              <a:chExt cx="394878" cy="392187"/>
            </a:xfrm>
          </p:grpSpPr>
          <p:sp>
            <p:nvSpPr>
              <p:cNvPr id="199" name="Rectangle 198">
                <a:extLst>
                  <a:ext uri="{FF2B5EF4-FFF2-40B4-BE49-F238E27FC236}">
                    <a16:creationId xmlns:a16="http://schemas.microsoft.com/office/drawing/2014/main" id="{34A3D336-41A3-AB44-A7A6-DAD2AEC86217}"/>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0" name="Picture 199" descr="Image result for azure functions logo png">
                <a:extLst>
                  <a:ext uri="{FF2B5EF4-FFF2-40B4-BE49-F238E27FC236}">
                    <a16:creationId xmlns:a16="http://schemas.microsoft.com/office/drawing/2014/main" id="{6852814C-033F-A24F-8D4C-CF73BE9F290B}"/>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201" name="Isosceles Triangle 181">
              <a:extLst>
                <a:ext uri="{FF2B5EF4-FFF2-40B4-BE49-F238E27FC236}">
                  <a16:creationId xmlns:a16="http://schemas.microsoft.com/office/drawing/2014/main" id="{AB637C35-533F-0B45-A5C2-46A1009C72F7}"/>
                </a:ext>
              </a:extLst>
            </p:cNvPr>
            <p:cNvSpPr/>
            <p:nvPr/>
          </p:nvSpPr>
          <p:spPr>
            <a:xfrm rot="5400000">
              <a:off x="6109764" y="4504708"/>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03" name="Group 202">
              <a:extLst>
                <a:ext uri="{FF2B5EF4-FFF2-40B4-BE49-F238E27FC236}">
                  <a16:creationId xmlns:a16="http://schemas.microsoft.com/office/drawing/2014/main" id="{0D301712-3514-FC44-8761-36FB772E34B9}"/>
                </a:ext>
              </a:extLst>
            </p:cNvPr>
            <p:cNvGrpSpPr/>
            <p:nvPr/>
          </p:nvGrpSpPr>
          <p:grpSpPr>
            <a:xfrm>
              <a:off x="6900433" y="3501624"/>
              <a:ext cx="274320" cy="274320"/>
              <a:chOff x="9846375" y="2765765"/>
              <a:chExt cx="274320" cy="274320"/>
            </a:xfrm>
          </p:grpSpPr>
          <p:sp>
            <p:nvSpPr>
              <p:cNvPr id="204" name="Oval 203">
                <a:extLst>
                  <a:ext uri="{FF2B5EF4-FFF2-40B4-BE49-F238E27FC236}">
                    <a16:creationId xmlns:a16="http://schemas.microsoft.com/office/drawing/2014/main" id="{96451F8B-DB93-BB45-8EBE-81F8D108249C}"/>
                  </a:ext>
                </a:extLst>
              </p:cNvPr>
              <p:cNvSpPr/>
              <p:nvPr/>
            </p:nvSpPr>
            <p:spPr>
              <a:xfrm>
                <a:off x="9846375" y="276576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 name="Oval 204">
                <a:extLst>
                  <a:ext uri="{FF2B5EF4-FFF2-40B4-BE49-F238E27FC236}">
                    <a16:creationId xmlns:a16="http://schemas.microsoft.com/office/drawing/2014/main" id="{F8141B05-D769-3E4E-BDF9-2CE657DC9D0E}"/>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06" name="Group 205">
              <a:extLst>
                <a:ext uri="{FF2B5EF4-FFF2-40B4-BE49-F238E27FC236}">
                  <a16:creationId xmlns:a16="http://schemas.microsoft.com/office/drawing/2014/main" id="{1949E0FA-E318-D641-8561-72F170B39FAD}"/>
                </a:ext>
              </a:extLst>
            </p:cNvPr>
            <p:cNvGrpSpPr/>
            <p:nvPr/>
          </p:nvGrpSpPr>
          <p:grpSpPr>
            <a:xfrm>
              <a:off x="7056445" y="3101936"/>
              <a:ext cx="274320" cy="274320"/>
              <a:chOff x="10087952" y="2591725"/>
              <a:chExt cx="274320" cy="274320"/>
            </a:xfrm>
          </p:grpSpPr>
          <p:sp>
            <p:nvSpPr>
              <p:cNvPr id="207" name="Oval 206">
                <a:extLst>
                  <a:ext uri="{FF2B5EF4-FFF2-40B4-BE49-F238E27FC236}">
                    <a16:creationId xmlns:a16="http://schemas.microsoft.com/office/drawing/2014/main" id="{41F52B2E-DDCE-3643-ACF9-38EC42384503}"/>
                  </a:ext>
                </a:extLst>
              </p:cNvPr>
              <p:cNvSpPr/>
              <p:nvPr/>
            </p:nvSpPr>
            <p:spPr>
              <a:xfrm>
                <a:off x="10087952" y="259172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27C328C7-7744-3D44-9344-96CBFA311BAD}"/>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09" name="Group 208">
              <a:extLst>
                <a:ext uri="{FF2B5EF4-FFF2-40B4-BE49-F238E27FC236}">
                  <a16:creationId xmlns:a16="http://schemas.microsoft.com/office/drawing/2014/main" id="{81A7A2AE-BB0E-F04F-8437-AEF63F880362}"/>
                </a:ext>
              </a:extLst>
            </p:cNvPr>
            <p:cNvGrpSpPr/>
            <p:nvPr/>
          </p:nvGrpSpPr>
          <p:grpSpPr>
            <a:xfrm>
              <a:off x="7318908" y="2775543"/>
              <a:ext cx="274320" cy="274320"/>
              <a:chOff x="10397072" y="2500811"/>
              <a:chExt cx="274320" cy="274320"/>
            </a:xfrm>
          </p:grpSpPr>
          <p:sp>
            <p:nvSpPr>
              <p:cNvPr id="210" name="Oval 209">
                <a:extLst>
                  <a:ext uri="{FF2B5EF4-FFF2-40B4-BE49-F238E27FC236}">
                    <a16:creationId xmlns:a16="http://schemas.microsoft.com/office/drawing/2014/main" id="{B8D98197-0F8C-374E-BF30-13FB28E1F844}"/>
                  </a:ext>
                </a:extLst>
              </p:cNvPr>
              <p:cNvSpPr/>
              <p:nvPr/>
            </p:nvSpPr>
            <p:spPr>
              <a:xfrm>
                <a:off x="10397072" y="2500811"/>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88ED81A1-96FC-FD4A-A58A-B77B69A04E6F}"/>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12" name="TextBox 211">
              <a:extLst>
                <a:ext uri="{FF2B5EF4-FFF2-40B4-BE49-F238E27FC236}">
                  <a16:creationId xmlns:a16="http://schemas.microsoft.com/office/drawing/2014/main" id="{4CFCC132-887B-B643-B7A6-EC1AF97A5072}"/>
                </a:ext>
              </a:extLst>
            </p:cNvPr>
            <p:cNvSpPr txBox="1"/>
            <p:nvPr/>
          </p:nvSpPr>
          <p:spPr>
            <a:xfrm>
              <a:off x="5873584" y="5476225"/>
              <a:ext cx="1956198"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d sends it to Cognitive Services for OCR detection</a:t>
              </a:r>
            </a:p>
          </p:txBody>
        </p:sp>
        <p:grpSp>
          <p:nvGrpSpPr>
            <p:cNvPr id="213" name="Group 212">
              <a:extLst>
                <a:ext uri="{FF2B5EF4-FFF2-40B4-BE49-F238E27FC236}">
                  <a16:creationId xmlns:a16="http://schemas.microsoft.com/office/drawing/2014/main" id="{B7787884-E207-D647-B459-CC5DFF7691A1}"/>
                </a:ext>
              </a:extLst>
            </p:cNvPr>
            <p:cNvGrpSpPr/>
            <p:nvPr/>
          </p:nvGrpSpPr>
          <p:grpSpPr>
            <a:xfrm>
              <a:off x="6482457" y="4114483"/>
              <a:ext cx="423863" cy="423863"/>
              <a:chOff x="7884081" y="3103007"/>
              <a:chExt cx="423863" cy="423863"/>
            </a:xfrm>
          </p:grpSpPr>
          <p:sp>
            <p:nvSpPr>
              <p:cNvPr id="214" name="Oval 213">
                <a:extLst>
                  <a:ext uri="{FF2B5EF4-FFF2-40B4-BE49-F238E27FC236}">
                    <a16:creationId xmlns:a16="http://schemas.microsoft.com/office/drawing/2014/main" id="{FB887C8C-40C9-A44F-91AA-CB60082FC586}"/>
                  </a:ext>
                </a:extLst>
              </p:cNvPr>
              <p:cNvSpPr/>
              <p:nvPr/>
            </p:nvSpPr>
            <p:spPr>
              <a:xfrm>
                <a:off x="7884081" y="3103007"/>
                <a:ext cx="423863" cy="42386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5" name="Graphic 214">
                <a:extLst>
                  <a:ext uri="{FF2B5EF4-FFF2-40B4-BE49-F238E27FC236}">
                    <a16:creationId xmlns:a16="http://schemas.microsoft.com/office/drawing/2014/main" id="{9057CF39-F204-044E-8A9D-97A79721B94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913132" y="3132058"/>
                <a:ext cx="365760" cy="365760"/>
              </a:xfrm>
              <a:prstGeom prst="rect">
                <a:avLst/>
              </a:prstGeom>
            </p:spPr>
          </p:pic>
        </p:grpSp>
        <p:pic>
          <p:nvPicPr>
            <p:cNvPr id="216" name="Picture 215">
              <a:extLst>
                <a:ext uri="{FF2B5EF4-FFF2-40B4-BE49-F238E27FC236}">
                  <a16:creationId xmlns:a16="http://schemas.microsoft.com/office/drawing/2014/main" id="{22CAC148-676D-F341-81AF-43608ABDDC8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809247" y="4500094"/>
              <a:ext cx="364090" cy="367229"/>
            </a:xfrm>
            <a:prstGeom prst="rect">
              <a:avLst/>
            </a:prstGeom>
          </p:spPr>
        </p:pic>
      </p:grpSp>
    </p:spTree>
    <p:extLst>
      <p:ext uri="{BB962C8B-B14F-4D97-AF65-F5344CB8AC3E}">
        <p14:creationId xmlns:p14="http://schemas.microsoft.com/office/powerpoint/2010/main" val="369908067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Real-time stream processing</a:t>
            </a: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endParaRPr lang="en-US"/>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916905"/>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Huge amounts of telemetry data is collected from a massive cloud app. That data is processed in near real-time and stored in a DB for use in an analytics dashboard.</a:t>
            </a:r>
          </a:p>
          <a:p>
            <a:pPr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ISV</a:t>
            </a:r>
          </a:p>
        </p:txBody>
      </p:sp>
      <p:pic>
        <p:nvPicPr>
          <p:cNvPr id="117" name="Picture 116" descr="A person standing in a room&#10;&#10;Description generated with very high confidence">
            <a:extLst>
              <a:ext uri="{FF2B5EF4-FFF2-40B4-BE49-F238E27FC236}">
                <a16:creationId xmlns:a16="http://schemas.microsoft.com/office/drawing/2014/main" id="{A13CB979-9D19-DC4C-9101-29E7F94D2C5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71468" y="2"/>
            <a:ext cx="2265007" cy="6994526"/>
          </a:xfrm>
          <a:prstGeom prst="rect">
            <a:avLst/>
          </a:prstGeom>
        </p:spPr>
      </p:pic>
      <p:sp>
        <p:nvSpPr>
          <p:cNvPr id="124" name="TextBox 123">
            <a:extLst>
              <a:ext uri="{FF2B5EF4-FFF2-40B4-BE49-F238E27FC236}">
                <a16:creationId xmlns:a16="http://schemas.microsoft.com/office/drawing/2014/main" id="{88B0E4DB-7757-144F-844E-6AED138C0B58}"/>
              </a:ext>
            </a:extLst>
          </p:cNvPr>
          <p:cNvSpPr txBox="1"/>
          <p:nvPr/>
        </p:nvSpPr>
        <p:spPr>
          <a:xfrm>
            <a:off x="434975" y="2771900"/>
            <a:ext cx="1389042"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pp or device producing data</a:t>
            </a:r>
          </a:p>
        </p:txBody>
      </p:sp>
      <p:sp>
        <p:nvSpPr>
          <p:cNvPr id="125" name="TextBox 124">
            <a:extLst>
              <a:ext uri="{FF2B5EF4-FFF2-40B4-BE49-F238E27FC236}">
                <a16:creationId xmlns:a16="http://schemas.microsoft.com/office/drawing/2014/main" id="{D8151FC2-75C3-0D46-BDF0-6E0DA7A361C4}"/>
              </a:ext>
            </a:extLst>
          </p:cNvPr>
          <p:cNvSpPr txBox="1"/>
          <p:nvPr/>
        </p:nvSpPr>
        <p:spPr>
          <a:xfrm>
            <a:off x="1632695" y="6054891"/>
            <a:ext cx="185545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Event Hubs ingests telemetry data</a:t>
            </a:r>
          </a:p>
        </p:txBody>
      </p:sp>
      <p:sp>
        <p:nvSpPr>
          <p:cNvPr id="126" name="TextBox 125">
            <a:extLst>
              <a:ext uri="{FF2B5EF4-FFF2-40B4-BE49-F238E27FC236}">
                <a16:creationId xmlns:a16="http://schemas.microsoft.com/office/drawing/2014/main" id="{359E18FA-4E40-F744-9857-1F8044E36254}"/>
              </a:ext>
            </a:extLst>
          </p:cNvPr>
          <p:cNvSpPr txBox="1"/>
          <p:nvPr/>
        </p:nvSpPr>
        <p:spPr>
          <a:xfrm>
            <a:off x="6071261" y="6054891"/>
            <a:ext cx="168058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d sends it to Cosmos DB</a:t>
            </a:r>
          </a:p>
        </p:txBody>
      </p:sp>
      <p:sp>
        <p:nvSpPr>
          <p:cNvPr id="127" name="TextBox 126">
            <a:extLst>
              <a:ext uri="{FF2B5EF4-FFF2-40B4-BE49-F238E27FC236}">
                <a16:creationId xmlns:a16="http://schemas.microsoft.com/office/drawing/2014/main" id="{8617160A-E48D-D348-852B-778A666990A2}"/>
              </a:ext>
            </a:extLst>
          </p:cNvPr>
          <p:cNvSpPr txBox="1"/>
          <p:nvPr/>
        </p:nvSpPr>
        <p:spPr>
          <a:xfrm>
            <a:off x="4067138" y="6054891"/>
            <a:ext cx="1706370"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 processes the data…</a:t>
            </a:r>
          </a:p>
        </p:txBody>
      </p:sp>
      <p:grpSp>
        <p:nvGrpSpPr>
          <p:cNvPr id="128" name="Group 127">
            <a:extLst>
              <a:ext uri="{FF2B5EF4-FFF2-40B4-BE49-F238E27FC236}">
                <a16:creationId xmlns:a16="http://schemas.microsoft.com/office/drawing/2014/main" id="{0E203CA3-33B8-3A45-8271-30AE89EBBC85}"/>
              </a:ext>
            </a:extLst>
          </p:cNvPr>
          <p:cNvGrpSpPr/>
          <p:nvPr/>
        </p:nvGrpSpPr>
        <p:grpSpPr>
          <a:xfrm>
            <a:off x="2007725" y="4813300"/>
            <a:ext cx="1002138" cy="1071270"/>
            <a:chOff x="1771050" y="3203762"/>
            <a:chExt cx="1143000" cy="1221850"/>
          </a:xfrm>
        </p:grpSpPr>
        <p:sp>
          <p:nvSpPr>
            <p:cNvPr id="129" name="Left Bracket 128">
              <a:extLst>
                <a:ext uri="{FF2B5EF4-FFF2-40B4-BE49-F238E27FC236}">
                  <a16:creationId xmlns:a16="http://schemas.microsoft.com/office/drawing/2014/main" id="{8823EF3C-5044-3F43-B8B8-16572CEE7A84}"/>
                </a:ext>
              </a:extLst>
            </p:cNvPr>
            <p:cNvSpPr/>
            <p:nvPr/>
          </p:nvSpPr>
          <p:spPr>
            <a:xfrm rot="5400000">
              <a:off x="2205390" y="2769422"/>
              <a:ext cx="274320" cy="1143000"/>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Left Bracket 129">
              <a:extLst>
                <a:ext uri="{FF2B5EF4-FFF2-40B4-BE49-F238E27FC236}">
                  <a16:creationId xmlns:a16="http://schemas.microsoft.com/office/drawing/2014/main" id="{DD2C7B08-B35D-E846-8525-DED991A4EE5D}"/>
                </a:ext>
              </a:extLst>
            </p:cNvPr>
            <p:cNvSpPr/>
            <p:nvPr/>
          </p:nvSpPr>
          <p:spPr>
            <a:xfrm rot="16200000">
              <a:off x="2205390" y="3716952"/>
              <a:ext cx="274320" cy="1143000"/>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1" name="Group 130">
            <a:extLst>
              <a:ext uri="{FF2B5EF4-FFF2-40B4-BE49-F238E27FC236}">
                <a16:creationId xmlns:a16="http://schemas.microsoft.com/office/drawing/2014/main" id="{AF54324D-9AD8-1A4E-A041-6E4BAA3955D8}"/>
              </a:ext>
            </a:extLst>
          </p:cNvPr>
          <p:cNvGrpSpPr/>
          <p:nvPr/>
        </p:nvGrpSpPr>
        <p:grpSpPr>
          <a:xfrm>
            <a:off x="2213380" y="4989618"/>
            <a:ext cx="707016" cy="718634"/>
            <a:chOff x="2931030" y="3346852"/>
            <a:chExt cx="806395" cy="819647"/>
          </a:xfrm>
        </p:grpSpPr>
        <p:grpSp>
          <p:nvGrpSpPr>
            <p:cNvPr id="132" name="Group 131">
              <a:extLst>
                <a:ext uri="{FF2B5EF4-FFF2-40B4-BE49-F238E27FC236}">
                  <a16:creationId xmlns:a16="http://schemas.microsoft.com/office/drawing/2014/main" id="{7561F3A6-733C-E24C-B7D5-625734A0599F}"/>
                </a:ext>
              </a:extLst>
            </p:cNvPr>
            <p:cNvGrpSpPr/>
            <p:nvPr/>
          </p:nvGrpSpPr>
          <p:grpSpPr>
            <a:xfrm>
              <a:off x="2931030" y="3346852"/>
              <a:ext cx="137160" cy="819647"/>
              <a:chOff x="2931030" y="3346852"/>
              <a:chExt cx="137160" cy="819647"/>
            </a:xfrm>
          </p:grpSpPr>
          <p:sp>
            <p:nvSpPr>
              <p:cNvPr id="141" name="Oval 140">
                <a:extLst>
                  <a:ext uri="{FF2B5EF4-FFF2-40B4-BE49-F238E27FC236}">
                    <a16:creationId xmlns:a16="http://schemas.microsoft.com/office/drawing/2014/main" id="{2BD0BD00-5992-B04F-A37C-F2992D744D69}"/>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 name="Oval 141">
                <a:extLst>
                  <a:ext uri="{FF2B5EF4-FFF2-40B4-BE49-F238E27FC236}">
                    <a16:creationId xmlns:a16="http://schemas.microsoft.com/office/drawing/2014/main" id="{F6DB4F09-62B4-F740-9C3B-01CCCCA8F74F}"/>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9" name="Oval 148">
                <a:extLst>
                  <a:ext uri="{FF2B5EF4-FFF2-40B4-BE49-F238E27FC236}">
                    <a16:creationId xmlns:a16="http://schemas.microsoft.com/office/drawing/2014/main" id="{D4C41D7C-334E-034F-B714-49B6755D95F8}"/>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Oval 149">
                <a:extLst>
                  <a:ext uri="{FF2B5EF4-FFF2-40B4-BE49-F238E27FC236}">
                    <a16:creationId xmlns:a16="http://schemas.microsoft.com/office/drawing/2014/main" id="{C09F3A33-D669-5B4A-879E-89DF151CE3B4}"/>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3" name="Group 132">
              <a:extLst>
                <a:ext uri="{FF2B5EF4-FFF2-40B4-BE49-F238E27FC236}">
                  <a16:creationId xmlns:a16="http://schemas.microsoft.com/office/drawing/2014/main" id="{869EA2F9-6258-9C43-A648-539831B90F1A}"/>
                </a:ext>
              </a:extLst>
            </p:cNvPr>
            <p:cNvGrpSpPr/>
            <p:nvPr/>
          </p:nvGrpSpPr>
          <p:grpSpPr>
            <a:xfrm>
              <a:off x="3154108" y="3460599"/>
              <a:ext cx="137160" cy="592152"/>
              <a:chOff x="3162943" y="3486000"/>
              <a:chExt cx="137160" cy="592152"/>
            </a:xfrm>
          </p:grpSpPr>
          <p:sp>
            <p:nvSpPr>
              <p:cNvPr id="138" name="Oval 137">
                <a:extLst>
                  <a:ext uri="{FF2B5EF4-FFF2-40B4-BE49-F238E27FC236}">
                    <a16:creationId xmlns:a16="http://schemas.microsoft.com/office/drawing/2014/main" id="{1119E19F-74AB-CE4C-B01B-D1D8FA09D3AD}"/>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a16="http://schemas.microsoft.com/office/drawing/2014/main" id="{4E21E418-A35A-0D4D-88A8-DB03C2FF4CF6}"/>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 name="Oval 139">
                <a:extLst>
                  <a:ext uri="{FF2B5EF4-FFF2-40B4-BE49-F238E27FC236}">
                    <a16:creationId xmlns:a16="http://schemas.microsoft.com/office/drawing/2014/main" id="{7FD85C5C-DD24-5847-8351-7B090FC9F522}"/>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4" name="Group 133">
              <a:extLst>
                <a:ext uri="{FF2B5EF4-FFF2-40B4-BE49-F238E27FC236}">
                  <a16:creationId xmlns:a16="http://schemas.microsoft.com/office/drawing/2014/main" id="{9EDCEDAA-3421-8C4F-9159-82BA4F4E6EAA}"/>
                </a:ext>
              </a:extLst>
            </p:cNvPr>
            <p:cNvGrpSpPr/>
            <p:nvPr/>
          </p:nvGrpSpPr>
          <p:grpSpPr>
            <a:xfrm>
              <a:off x="3377186" y="3574347"/>
              <a:ext cx="137160" cy="364656"/>
              <a:chOff x="3394856" y="3625148"/>
              <a:chExt cx="137160" cy="364656"/>
            </a:xfrm>
          </p:grpSpPr>
          <p:sp>
            <p:nvSpPr>
              <p:cNvPr id="136" name="Oval 135">
                <a:extLst>
                  <a:ext uri="{FF2B5EF4-FFF2-40B4-BE49-F238E27FC236}">
                    <a16:creationId xmlns:a16="http://schemas.microsoft.com/office/drawing/2014/main" id="{FAECB787-4188-3D49-B93D-B197689EAE76}"/>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7" name="Oval 136">
                <a:extLst>
                  <a:ext uri="{FF2B5EF4-FFF2-40B4-BE49-F238E27FC236}">
                    <a16:creationId xmlns:a16="http://schemas.microsoft.com/office/drawing/2014/main" id="{1E9C8DDB-184C-B245-80B9-8ECD9849F216}"/>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35" name="Oval 134">
              <a:extLst>
                <a:ext uri="{FF2B5EF4-FFF2-40B4-BE49-F238E27FC236}">
                  <a16:creationId xmlns:a16="http://schemas.microsoft.com/office/drawing/2014/main" id="{4DAEB3AE-1C1E-984B-9E5A-3D4CFE55CCD4}"/>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51" name="Graphic 24">
            <a:extLst>
              <a:ext uri="{FF2B5EF4-FFF2-40B4-BE49-F238E27FC236}">
                <a16:creationId xmlns:a16="http://schemas.microsoft.com/office/drawing/2014/main" id="{2D6EC6AE-51D5-0F4B-B251-6A7148171F4F}"/>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5230" t="28232" r="25406" b="28573"/>
          <a:stretch/>
        </p:blipFill>
        <p:spPr>
          <a:xfrm>
            <a:off x="730809" y="3395625"/>
            <a:ext cx="846525" cy="572384"/>
          </a:xfrm>
          <a:prstGeom prst="rect">
            <a:avLst/>
          </a:prstGeom>
        </p:spPr>
      </p:pic>
      <p:sp>
        <p:nvSpPr>
          <p:cNvPr id="152" name="Freeform: Shape 334">
            <a:extLst>
              <a:ext uri="{FF2B5EF4-FFF2-40B4-BE49-F238E27FC236}">
                <a16:creationId xmlns:a16="http://schemas.microsoft.com/office/drawing/2014/main" id="{9470444B-A98C-1B4A-9CA1-6CD6F6AB76E0}"/>
              </a:ext>
            </a:extLst>
          </p:cNvPr>
          <p:cNvSpPr/>
          <p:nvPr/>
        </p:nvSpPr>
        <p:spPr>
          <a:xfrm>
            <a:off x="1138029" y="4040013"/>
            <a:ext cx="753847" cy="1312703"/>
          </a:xfrm>
          <a:custGeom>
            <a:avLst/>
            <a:gdLst>
              <a:gd name="connsiteX0" fmla="*/ 0 w 859809"/>
              <a:gd name="connsiteY0" fmla="*/ 0 h 1119117"/>
              <a:gd name="connsiteX1" fmla="*/ 191069 w 859809"/>
              <a:gd name="connsiteY1" fmla="*/ 914400 h 1119117"/>
              <a:gd name="connsiteX2" fmla="*/ 859809 w 859809"/>
              <a:gd name="connsiteY2" fmla="*/ 1119117 h 1119117"/>
            </a:gdLst>
            <a:ahLst/>
            <a:cxnLst>
              <a:cxn ang="0">
                <a:pos x="connsiteX0" y="connsiteY0"/>
              </a:cxn>
              <a:cxn ang="0">
                <a:pos x="connsiteX1" y="connsiteY1"/>
              </a:cxn>
              <a:cxn ang="0">
                <a:pos x="connsiteX2" y="connsiteY2"/>
              </a:cxn>
            </a:cxnLst>
            <a:rect l="l" t="t" r="r" b="b"/>
            <a:pathLst>
              <a:path w="859809" h="1119117">
                <a:moveTo>
                  <a:pt x="0" y="0"/>
                </a:moveTo>
                <a:cubicBezTo>
                  <a:pt x="23884" y="363940"/>
                  <a:pt x="47768" y="727881"/>
                  <a:pt x="191069" y="914400"/>
                </a:cubicBezTo>
                <a:cubicBezTo>
                  <a:pt x="334370" y="1100919"/>
                  <a:pt x="597089" y="1110018"/>
                  <a:pt x="859809" y="1119117"/>
                </a:cubicBezTo>
              </a:path>
            </a:pathLst>
          </a:custGeom>
          <a:noFill/>
          <a:ln w="19050">
            <a:solidFill>
              <a:srgbClr val="A8A9AD"/>
            </a:solidFill>
            <a:tailEnd type="arrow"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4" name="Group 153">
            <a:extLst>
              <a:ext uri="{FF2B5EF4-FFF2-40B4-BE49-F238E27FC236}">
                <a16:creationId xmlns:a16="http://schemas.microsoft.com/office/drawing/2014/main" id="{EA5250E9-CD1B-8641-A86D-FD7202211BEB}"/>
              </a:ext>
            </a:extLst>
          </p:cNvPr>
          <p:cNvGrpSpPr/>
          <p:nvPr/>
        </p:nvGrpSpPr>
        <p:grpSpPr>
          <a:xfrm>
            <a:off x="1076498" y="4178187"/>
            <a:ext cx="160342" cy="160342"/>
            <a:chOff x="6614096" y="3386015"/>
            <a:chExt cx="182880" cy="182880"/>
          </a:xfrm>
        </p:grpSpPr>
        <p:sp>
          <p:nvSpPr>
            <p:cNvPr id="161" name="Oval 160">
              <a:extLst>
                <a:ext uri="{FF2B5EF4-FFF2-40B4-BE49-F238E27FC236}">
                  <a16:creationId xmlns:a16="http://schemas.microsoft.com/office/drawing/2014/main" id="{70151629-FAA8-0A41-B5D8-3988A0FC2F1B}"/>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2" name="Oval 161">
              <a:extLst>
                <a:ext uri="{FF2B5EF4-FFF2-40B4-BE49-F238E27FC236}">
                  <a16:creationId xmlns:a16="http://schemas.microsoft.com/office/drawing/2014/main" id="{5F7E81F1-3680-6F46-9E3D-4C929E7C4B2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3" name="Group 162">
            <a:extLst>
              <a:ext uri="{FF2B5EF4-FFF2-40B4-BE49-F238E27FC236}">
                <a16:creationId xmlns:a16="http://schemas.microsoft.com/office/drawing/2014/main" id="{A4D552B2-98DB-2D44-950B-15B0B69AE191}"/>
              </a:ext>
            </a:extLst>
          </p:cNvPr>
          <p:cNvGrpSpPr/>
          <p:nvPr/>
        </p:nvGrpSpPr>
        <p:grpSpPr>
          <a:xfrm>
            <a:off x="1091602" y="4405532"/>
            <a:ext cx="160342" cy="160342"/>
            <a:chOff x="6614096" y="3386015"/>
            <a:chExt cx="182880" cy="182880"/>
          </a:xfrm>
        </p:grpSpPr>
        <p:sp>
          <p:nvSpPr>
            <p:cNvPr id="164" name="Oval 163">
              <a:extLst>
                <a:ext uri="{FF2B5EF4-FFF2-40B4-BE49-F238E27FC236}">
                  <a16:creationId xmlns:a16="http://schemas.microsoft.com/office/drawing/2014/main" id="{F0A26FD7-395D-BC4F-8515-83E96FA0F41E}"/>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6" name="Oval 165">
              <a:extLst>
                <a:ext uri="{FF2B5EF4-FFF2-40B4-BE49-F238E27FC236}">
                  <a16:creationId xmlns:a16="http://schemas.microsoft.com/office/drawing/2014/main" id="{7F7E3C4C-261B-2F46-AE1F-715A19D5E1C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7" name="Group 166">
            <a:extLst>
              <a:ext uri="{FF2B5EF4-FFF2-40B4-BE49-F238E27FC236}">
                <a16:creationId xmlns:a16="http://schemas.microsoft.com/office/drawing/2014/main" id="{F57EE4AE-E9E2-3840-AB9F-EC46E77F65EF}"/>
              </a:ext>
            </a:extLst>
          </p:cNvPr>
          <p:cNvGrpSpPr/>
          <p:nvPr/>
        </p:nvGrpSpPr>
        <p:grpSpPr>
          <a:xfrm>
            <a:off x="1260076" y="5065876"/>
            <a:ext cx="160342" cy="160342"/>
            <a:chOff x="6614096" y="3386015"/>
            <a:chExt cx="182880" cy="182880"/>
          </a:xfrm>
        </p:grpSpPr>
        <p:sp>
          <p:nvSpPr>
            <p:cNvPr id="168" name="Oval 167">
              <a:extLst>
                <a:ext uri="{FF2B5EF4-FFF2-40B4-BE49-F238E27FC236}">
                  <a16:creationId xmlns:a16="http://schemas.microsoft.com/office/drawing/2014/main" id="{9BEACAAF-25B2-634C-AA25-0D6A526FD768}"/>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2" name="Oval 171">
              <a:extLst>
                <a:ext uri="{FF2B5EF4-FFF2-40B4-BE49-F238E27FC236}">
                  <a16:creationId xmlns:a16="http://schemas.microsoft.com/office/drawing/2014/main" id="{FD5476AC-6068-B844-B36B-04D70E73EF2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73" name="Group 172">
            <a:extLst>
              <a:ext uri="{FF2B5EF4-FFF2-40B4-BE49-F238E27FC236}">
                <a16:creationId xmlns:a16="http://schemas.microsoft.com/office/drawing/2014/main" id="{1846AF67-2F94-084D-AE37-A2AD8290A5AC}"/>
              </a:ext>
            </a:extLst>
          </p:cNvPr>
          <p:cNvGrpSpPr/>
          <p:nvPr/>
        </p:nvGrpSpPr>
        <p:grpSpPr>
          <a:xfrm>
            <a:off x="1421582" y="5213438"/>
            <a:ext cx="160342" cy="160342"/>
            <a:chOff x="6614096" y="3386015"/>
            <a:chExt cx="182880" cy="182880"/>
          </a:xfrm>
        </p:grpSpPr>
        <p:sp>
          <p:nvSpPr>
            <p:cNvPr id="175" name="Oval 174">
              <a:extLst>
                <a:ext uri="{FF2B5EF4-FFF2-40B4-BE49-F238E27FC236}">
                  <a16:creationId xmlns:a16="http://schemas.microsoft.com/office/drawing/2014/main" id="{7D8E0123-2D7C-C648-8EA9-AFB31DF0D0A1}"/>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 name="Oval 175">
              <a:extLst>
                <a:ext uri="{FF2B5EF4-FFF2-40B4-BE49-F238E27FC236}">
                  <a16:creationId xmlns:a16="http://schemas.microsoft.com/office/drawing/2014/main" id="{EE05C302-3DA9-904B-94FE-7EF20A34BED8}"/>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77" name="Group 176">
            <a:extLst>
              <a:ext uri="{FF2B5EF4-FFF2-40B4-BE49-F238E27FC236}">
                <a16:creationId xmlns:a16="http://schemas.microsoft.com/office/drawing/2014/main" id="{C063BDCB-7244-AF4F-AC53-99C98F6698C9}"/>
              </a:ext>
            </a:extLst>
          </p:cNvPr>
          <p:cNvGrpSpPr/>
          <p:nvPr/>
        </p:nvGrpSpPr>
        <p:grpSpPr>
          <a:xfrm>
            <a:off x="1116000" y="4632877"/>
            <a:ext cx="160342" cy="160342"/>
            <a:chOff x="6614096" y="3386015"/>
            <a:chExt cx="182880" cy="182880"/>
          </a:xfrm>
        </p:grpSpPr>
        <p:sp>
          <p:nvSpPr>
            <p:cNvPr id="178" name="Oval 177">
              <a:extLst>
                <a:ext uri="{FF2B5EF4-FFF2-40B4-BE49-F238E27FC236}">
                  <a16:creationId xmlns:a16="http://schemas.microsoft.com/office/drawing/2014/main" id="{28B1FC88-4ACD-C24A-9C84-21F0B661AF46}"/>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9" name="Oval 178">
              <a:extLst>
                <a:ext uri="{FF2B5EF4-FFF2-40B4-BE49-F238E27FC236}">
                  <a16:creationId xmlns:a16="http://schemas.microsoft.com/office/drawing/2014/main" id="{569E9CAB-4470-C94C-BF02-8AB333E28A13}"/>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0" name="Group 179">
            <a:extLst>
              <a:ext uri="{FF2B5EF4-FFF2-40B4-BE49-F238E27FC236}">
                <a16:creationId xmlns:a16="http://schemas.microsoft.com/office/drawing/2014/main" id="{D1DD8D1C-797F-B14C-BDB9-10F3E5B32DE9}"/>
              </a:ext>
            </a:extLst>
          </p:cNvPr>
          <p:cNvGrpSpPr/>
          <p:nvPr/>
        </p:nvGrpSpPr>
        <p:grpSpPr>
          <a:xfrm>
            <a:off x="1165961" y="4860221"/>
            <a:ext cx="160342" cy="160342"/>
            <a:chOff x="6614096" y="3386015"/>
            <a:chExt cx="182880" cy="182880"/>
          </a:xfrm>
        </p:grpSpPr>
        <p:sp>
          <p:nvSpPr>
            <p:cNvPr id="181" name="Oval 180">
              <a:extLst>
                <a:ext uri="{FF2B5EF4-FFF2-40B4-BE49-F238E27FC236}">
                  <a16:creationId xmlns:a16="http://schemas.microsoft.com/office/drawing/2014/main" id="{0CA42B67-192F-C14E-9E82-C4C8D5BB5E2C}"/>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Oval 181">
              <a:extLst>
                <a:ext uri="{FF2B5EF4-FFF2-40B4-BE49-F238E27FC236}">
                  <a16:creationId xmlns:a16="http://schemas.microsoft.com/office/drawing/2014/main" id="{DE1B1631-10B2-7F47-A190-1120527E34C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3" name="Group 182">
            <a:extLst>
              <a:ext uri="{FF2B5EF4-FFF2-40B4-BE49-F238E27FC236}">
                <a16:creationId xmlns:a16="http://schemas.microsoft.com/office/drawing/2014/main" id="{2F06FBA2-EA89-A346-B358-05DB9BF02E2F}"/>
              </a:ext>
            </a:extLst>
          </p:cNvPr>
          <p:cNvGrpSpPr/>
          <p:nvPr/>
        </p:nvGrpSpPr>
        <p:grpSpPr>
          <a:xfrm>
            <a:off x="789817" y="3864474"/>
            <a:ext cx="728510" cy="160342"/>
            <a:chOff x="1376833" y="2042055"/>
            <a:chExt cx="830910" cy="182880"/>
          </a:xfrm>
        </p:grpSpPr>
        <p:grpSp>
          <p:nvGrpSpPr>
            <p:cNvPr id="184" name="Group 183">
              <a:extLst>
                <a:ext uri="{FF2B5EF4-FFF2-40B4-BE49-F238E27FC236}">
                  <a16:creationId xmlns:a16="http://schemas.microsoft.com/office/drawing/2014/main" id="{C07381D9-68E9-7249-9E00-AF42F408976D}"/>
                </a:ext>
              </a:extLst>
            </p:cNvPr>
            <p:cNvGrpSpPr/>
            <p:nvPr/>
          </p:nvGrpSpPr>
          <p:grpSpPr>
            <a:xfrm>
              <a:off x="1376833" y="2042055"/>
              <a:ext cx="182880" cy="182880"/>
              <a:chOff x="6614096" y="3386015"/>
              <a:chExt cx="182880" cy="182880"/>
            </a:xfrm>
          </p:grpSpPr>
          <p:sp>
            <p:nvSpPr>
              <p:cNvPr id="218" name="Oval 217">
                <a:extLst>
                  <a:ext uri="{FF2B5EF4-FFF2-40B4-BE49-F238E27FC236}">
                    <a16:creationId xmlns:a16="http://schemas.microsoft.com/office/drawing/2014/main" id="{EC01F20C-757A-A446-B2D3-F93222585B8A}"/>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9" name="Oval 218">
                <a:extLst>
                  <a:ext uri="{FF2B5EF4-FFF2-40B4-BE49-F238E27FC236}">
                    <a16:creationId xmlns:a16="http://schemas.microsoft.com/office/drawing/2014/main" id="{CF68D81C-25B0-C442-BC73-74C53FA500CD}"/>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5" name="Group 184">
              <a:extLst>
                <a:ext uri="{FF2B5EF4-FFF2-40B4-BE49-F238E27FC236}">
                  <a16:creationId xmlns:a16="http://schemas.microsoft.com/office/drawing/2014/main" id="{AC0FF9CF-8675-9248-A7EF-B35E3ADD1FAE}"/>
                </a:ext>
              </a:extLst>
            </p:cNvPr>
            <p:cNvGrpSpPr/>
            <p:nvPr/>
          </p:nvGrpSpPr>
          <p:grpSpPr>
            <a:xfrm>
              <a:off x="1592843" y="2042055"/>
              <a:ext cx="182880" cy="182880"/>
              <a:chOff x="6614096" y="3386015"/>
              <a:chExt cx="182880" cy="182880"/>
            </a:xfrm>
          </p:grpSpPr>
          <p:sp>
            <p:nvSpPr>
              <p:cNvPr id="202" name="Oval 201">
                <a:extLst>
                  <a:ext uri="{FF2B5EF4-FFF2-40B4-BE49-F238E27FC236}">
                    <a16:creationId xmlns:a16="http://schemas.microsoft.com/office/drawing/2014/main" id="{E443491F-8F7E-EC4C-B604-CF9A9E49B195}"/>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7" name="Oval 216">
                <a:extLst>
                  <a:ext uri="{FF2B5EF4-FFF2-40B4-BE49-F238E27FC236}">
                    <a16:creationId xmlns:a16="http://schemas.microsoft.com/office/drawing/2014/main" id="{B006C9C4-35EF-E74C-BF88-FF6B543F6386}"/>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6" name="Group 185">
              <a:extLst>
                <a:ext uri="{FF2B5EF4-FFF2-40B4-BE49-F238E27FC236}">
                  <a16:creationId xmlns:a16="http://schemas.microsoft.com/office/drawing/2014/main" id="{1BD39976-8F69-DD42-996F-D7FA5E2BF360}"/>
                </a:ext>
              </a:extLst>
            </p:cNvPr>
            <p:cNvGrpSpPr/>
            <p:nvPr/>
          </p:nvGrpSpPr>
          <p:grpSpPr>
            <a:xfrm>
              <a:off x="1808853" y="2042055"/>
              <a:ext cx="182880" cy="182880"/>
              <a:chOff x="6614096" y="3386015"/>
              <a:chExt cx="182880" cy="182880"/>
            </a:xfrm>
          </p:grpSpPr>
          <p:sp>
            <p:nvSpPr>
              <p:cNvPr id="190" name="Oval 189">
                <a:extLst>
                  <a:ext uri="{FF2B5EF4-FFF2-40B4-BE49-F238E27FC236}">
                    <a16:creationId xmlns:a16="http://schemas.microsoft.com/office/drawing/2014/main" id="{746E4C6F-8F8F-5647-B9D2-E4342D58982A}"/>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1" name="Oval 190">
                <a:extLst>
                  <a:ext uri="{FF2B5EF4-FFF2-40B4-BE49-F238E27FC236}">
                    <a16:creationId xmlns:a16="http://schemas.microsoft.com/office/drawing/2014/main" id="{0AD6CAB6-337A-F94D-81E7-9870979E7D2B}"/>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7" name="Group 186">
              <a:extLst>
                <a:ext uri="{FF2B5EF4-FFF2-40B4-BE49-F238E27FC236}">
                  <a16:creationId xmlns:a16="http://schemas.microsoft.com/office/drawing/2014/main" id="{9BD6761F-7614-8245-B79A-2A0926BF86B5}"/>
                </a:ext>
              </a:extLst>
            </p:cNvPr>
            <p:cNvGrpSpPr/>
            <p:nvPr/>
          </p:nvGrpSpPr>
          <p:grpSpPr>
            <a:xfrm>
              <a:off x="2024863" y="2042055"/>
              <a:ext cx="182880" cy="182880"/>
              <a:chOff x="6614096" y="3386015"/>
              <a:chExt cx="182880" cy="182880"/>
            </a:xfrm>
          </p:grpSpPr>
          <p:sp>
            <p:nvSpPr>
              <p:cNvPr id="188" name="Oval 187">
                <a:extLst>
                  <a:ext uri="{FF2B5EF4-FFF2-40B4-BE49-F238E27FC236}">
                    <a16:creationId xmlns:a16="http://schemas.microsoft.com/office/drawing/2014/main" id="{54148A79-BDC8-3746-89F0-29394D918A01}"/>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Oval 188">
                <a:extLst>
                  <a:ext uri="{FF2B5EF4-FFF2-40B4-BE49-F238E27FC236}">
                    <a16:creationId xmlns:a16="http://schemas.microsoft.com/office/drawing/2014/main" id="{9645065E-9DE7-2740-989D-0D8C0A4C2F68}"/>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20" name="Rectangle: Rounded Corners 414">
            <a:extLst>
              <a:ext uri="{FF2B5EF4-FFF2-40B4-BE49-F238E27FC236}">
                <a16:creationId xmlns:a16="http://schemas.microsoft.com/office/drawing/2014/main" id="{BED9294B-C7E9-D949-8BCE-D0D9964F946F}"/>
              </a:ext>
            </a:extLst>
          </p:cNvPr>
          <p:cNvSpPr/>
          <p:nvPr/>
        </p:nvSpPr>
        <p:spPr>
          <a:xfrm>
            <a:off x="4439706" y="4857670"/>
            <a:ext cx="970070" cy="966190"/>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1" name="Straight Arrow Connector 220">
            <a:extLst>
              <a:ext uri="{FF2B5EF4-FFF2-40B4-BE49-F238E27FC236}">
                <a16:creationId xmlns:a16="http://schemas.microsoft.com/office/drawing/2014/main" id="{A3213D54-EF19-244D-9E6D-EE1B35E78C01}"/>
              </a:ext>
            </a:extLst>
          </p:cNvPr>
          <p:cNvCxnSpPr>
            <a:cxnSpLocks/>
          </p:cNvCxnSpPr>
          <p:nvPr/>
        </p:nvCxnSpPr>
        <p:spPr>
          <a:xfrm>
            <a:off x="3070998" y="5348935"/>
            <a:ext cx="1247879"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13D44D7E-E499-1744-81DD-ADB39F75D117}"/>
              </a:ext>
            </a:extLst>
          </p:cNvPr>
          <p:cNvGrpSpPr/>
          <p:nvPr/>
        </p:nvGrpSpPr>
        <p:grpSpPr>
          <a:xfrm>
            <a:off x="3435333" y="5129873"/>
            <a:ext cx="481026" cy="481026"/>
            <a:chOff x="6619603" y="3286538"/>
            <a:chExt cx="548640" cy="548640"/>
          </a:xfrm>
        </p:grpSpPr>
        <p:sp>
          <p:nvSpPr>
            <p:cNvPr id="223" name="Rectangle 222">
              <a:extLst>
                <a:ext uri="{FF2B5EF4-FFF2-40B4-BE49-F238E27FC236}">
                  <a16:creationId xmlns:a16="http://schemas.microsoft.com/office/drawing/2014/main" id="{07463BF0-861E-FA4D-9BEA-3988D4BFB99F}"/>
                </a:ext>
              </a:extLst>
            </p:cNvPr>
            <p:cNvSpPr/>
            <p:nvPr/>
          </p:nvSpPr>
          <p:spPr>
            <a:xfrm>
              <a:off x="6619603" y="3286538"/>
              <a:ext cx="54864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4" name="Group 223">
              <a:extLst>
                <a:ext uri="{FF2B5EF4-FFF2-40B4-BE49-F238E27FC236}">
                  <a16:creationId xmlns:a16="http://schemas.microsoft.com/office/drawing/2014/main" id="{F210BBA3-B713-4A40-8517-2EF2334CCBD7}"/>
                </a:ext>
              </a:extLst>
            </p:cNvPr>
            <p:cNvGrpSpPr/>
            <p:nvPr/>
          </p:nvGrpSpPr>
          <p:grpSpPr>
            <a:xfrm>
              <a:off x="6653050" y="3286538"/>
              <a:ext cx="481756" cy="489672"/>
              <a:chOff x="2931030" y="3346852"/>
              <a:chExt cx="806395" cy="819647"/>
            </a:xfrm>
          </p:grpSpPr>
          <p:grpSp>
            <p:nvGrpSpPr>
              <p:cNvPr id="225" name="Group 224">
                <a:extLst>
                  <a:ext uri="{FF2B5EF4-FFF2-40B4-BE49-F238E27FC236}">
                    <a16:creationId xmlns:a16="http://schemas.microsoft.com/office/drawing/2014/main" id="{CD7542D5-D182-5744-BD0F-84FA930EA28F}"/>
                  </a:ext>
                </a:extLst>
              </p:cNvPr>
              <p:cNvGrpSpPr/>
              <p:nvPr/>
            </p:nvGrpSpPr>
            <p:grpSpPr>
              <a:xfrm>
                <a:off x="2931030" y="3346852"/>
                <a:ext cx="137160" cy="819647"/>
                <a:chOff x="2931030" y="3346852"/>
                <a:chExt cx="137160" cy="819647"/>
              </a:xfrm>
            </p:grpSpPr>
            <p:sp>
              <p:nvSpPr>
                <p:cNvPr id="234" name="Oval 233">
                  <a:extLst>
                    <a:ext uri="{FF2B5EF4-FFF2-40B4-BE49-F238E27FC236}">
                      <a16:creationId xmlns:a16="http://schemas.microsoft.com/office/drawing/2014/main" id="{438773E4-8D74-0E49-A544-E0917035CE97}"/>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5" name="Oval 234">
                  <a:extLst>
                    <a:ext uri="{FF2B5EF4-FFF2-40B4-BE49-F238E27FC236}">
                      <a16:creationId xmlns:a16="http://schemas.microsoft.com/office/drawing/2014/main" id="{88A0AAF3-D8A2-9645-BB5A-5EC00076B608}"/>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6" name="Oval 235">
                  <a:extLst>
                    <a:ext uri="{FF2B5EF4-FFF2-40B4-BE49-F238E27FC236}">
                      <a16:creationId xmlns:a16="http://schemas.microsoft.com/office/drawing/2014/main" id="{DC9FD6CF-E326-0848-A653-8C8F110EE25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Oval 236">
                  <a:extLst>
                    <a:ext uri="{FF2B5EF4-FFF2-40B4-BE49-F238E27FC236}">
                      <a16:creationId xmlns:a16="http://schemas.microsoft.com/office/drawing/2014/main" id="{6F4CC443-2D8B-6F42-9CAF-15E1F4D0BEDE}"/>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26" name="Group 225">
                <a:extLst>
                  <a:ext uri="{FF2B5EF4-FFF2-40B4-BE49-F238E27FC236}">
                    <a16:creationId xmlns:a16="http://schemas.microsoft.com/office/drawing/2014/main" id="{F1F4EBF2-19ED-C245-9A2C-2D17E6019AF2}"/>
                  </a:ext>
                </a:extLst>
              </p:cNvPr>
              <p:cNvGrpSpPr/>
              <p:nvPr/>
            </p:nvGrpSpPr>
            <p:grpSpPr>
              <a:xfrm>
                <a:off x="3154108" y="3460599"/>
                <a:ext cx="137160" cy="592152"/>
                <a:chOff x="3162943" y="3486000"/>
                <a:chExt cx="137160" cy="592152"/>
              </a:xfrm>
            </p:grpSpPr>
            <p:sp>
              <p:nvSpPr>
                <p:cNvPr id="231" name="Oval 230">
                  <a:extLst>
                    <a:ext uri="{FF2B5EF4-FFF2-40B4-BE49-F238E27FC236}">
                      <a16:creationId xmlns:a16="http://schemas.microsoft.com/office/drawing/2014/main" id="{2C1B02A4-15AD-A149-8E69-ADE01B7D1F31}"/>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2" name="Oval 231">
                  <a:extLst>
                    <a:ext uri="{FF2B5EF4-FFF2-40B4-BE49-F238E27FC236}">
                      <a16:creationId xmlns:a16="http://schemas.microsoft.com/office/drawing/2014/main" id="{08F0E32D-A368-954E-A88C-9EC2CE576E0F}"/>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3" name="Oval 232">
                  <a:extLst>
                    <a:ext uri="{FF2B5EF4-FFF2-40B4-BE49-F238E27FC236}">
                      <a16:creationId xmlns:a16="http://schemas.microsoft.com/office/drawing/2014/main" id="{766E7054-7692-7041-AB86-F7E4C1ADEF6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27" name="Group 226">
                <a:extLst>
                  <a:ext uri="{FF2B5EF4-FFF2-40B4-BE49-F238E27FC236}">
                    <a16:creationId xmlns:a16="http://schemas.microsoft.com/office/drawing/2014/main" id="{75A48A10-2CD0-CF47-A3E3-C4F09832AF48}"/>
                  </a:ext>
                </a:extLst>
              </p:cNvPr>
              <p:cNvGrpSpPr/>
              <p:nvPr/>
            </p:nvGrpSpPr>
            <p:grpSpPr>
              <a:xfrm>
                <a:off x="3377186" y="3574347"/>
                <a:ext cx="137160" cy="364656"/>
                <a:chOff x="3394856" y="3625148"/>
                <a:chExt cx="137160" cy="364656"/>
              </a:xfrm>
            </p:grpSpPr>
            <p:sp>
              <p:nvSpPr>
                <p:cNvPr id="229" name="Oval 228">
                  <a:extLst>
                    <a:ext uri="{FF2B5EF4-FFF2-40B4-BE49-F238E27FC236}">
                      <a16:creationId xmlns:a16="http://schemas.microsoft.com/office/drawing/2014/main" id="{163A05C7-CC88-894A-8550-A9CF61C3D709}"/>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0" name="Oval 229">
                  <a:extLst>
                    <a:ext uri="{FF2B5EF4-FFF2-40B4-BE49-F238E27FC236}">
                      <a16:creationId xmlns:a16="http://schemas.microsoft.com/office/drawing/2014/main" id="{056445F8-160C-EF47-9FC1-48BD120A1011}"/>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28" name="Oval 227">
                <a:extLst>
                  <a:ext uri="{FF2B5EF4-FFF2-40B4-BE49-F238E27FC236}">
                    <a16:creationId xmlns:a16="http://schemas.microsoft.com/office/drawing/2014/main" id="{3A55C4A1-BB89-E544-BFD6-69C0900C1C30}"/>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38" name="Oval 237">
            <a:extLst>
              <a:ext uri="{FF2B5EF4-FFF2-40B4-BE49-F238E27FC236}">
                <a16:creationId xmlns:a16="http://schemas.microsoft.com/office/drawing/2014/main" id="{00F683C5-9C91-2849-BDE8-C1A10801B3CB}"/>
              </a:ext>
            </a:extLst>
          </p:cNvPr>
          <p:cNvSpPr/>
          <p:nvPr/>
        </p:nvSpPr>
        <p:spPr>
          <a:xfrm>
            <a:off x="6838975" y="5786785"/>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9" name="Oval 238">
            <a:extLst>
              <a:ext uri="{FF2B5EF4-FFF2-40B4-BE49-F238E27FC236}">
                <a16:creationId xmlns:a16="http://schemas.microsoft.com/office/drawing/2014/main" id="{441E86F6-85C9-1A4B-B59A-916305BA6127}"/>
              </a:ext>
            </a:extLst>
          </p:cNvPr>
          <p:cNvSpPr/>
          <p:nvPr/>
        </p:nvSpPr>
        <p:spPr>
          <a:xfrm>
            <a:off x="7165847" y="5677413"/>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0" name="Oval 239">
            <a:extLst>
              <a:ext uri="{FF2B5EF4-FFF2-40B4-BE49-F238E27FC236}">
                <a16:creationId xmlns:a16="http://schemas.microsoft.com/office/drawing/2014/main" id="{6182DFD3-0676-1549-B59F-D5F4EE0A344A}"/>
              </a:ext>
            </a:extLst>
          </p:cNvPr>
          <p:cNvSpPr/>
          <p:nvPr/>
        </p:nvSpPr>
        <p:spPr>
          <a:xfrm>
            <a:off x="7068340" y="5743967"/>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1" name="Oval 240">
            <a:extLst>
              <a:ext uri="{FF2B5EF4-FFF2-40B4-BE49-F238E27FC236}">
                <a16:creationId xmlns:a16="http://schemas.microsoft.com/office/drawing/2014/main" id="{89BC78D1-9AAC-B340-BEA8-FF27411357BC}"/>
              </a:ext>
            </a:extLst>
          </p:cNvPr>
          <p:cNvSpPr/>
          <p:nvPr/>
        </p:nvSpPr>
        <p:spPr>
          <a:xfrm>
            <a:off x="6954326" y="5778531"/>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2" name="Oval 241">
            <a:extLst>
              <a:ext uri="{FF2B5EF4-FFF2-40B4-BE49-F238E27FC236}">
                <a16:creationId xmlns:a16="http://schemas.microsoft.com/office/drawing/2014/main" id="{D8C30C9B-F4BA-5C42-8D70-179F586F7BF4}"/>
              </a:ext>
            </a:extLst>
          </p:cNvPr>
          <p:cNvSpPr/>
          <p:nvPr/>
        </p:nvSpPr>
        <p:spPr>
          <a:xfrm flipH="1">
            <a:off x="6610096" y="5743967"/>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3" name="Oval 242">
            <a:extLst>
              <a:ext uri="{FF2B5EF4-FFF2-40B4-BE49-F238E27FC236}">
                <a16:creationId xmlns:a16="http://schemas.microsoft.com/office/drawing/2014/main" id="{F18FBC9F-2D3E-3646-8EA6-9577ACD7C9F6}"/>
              </a:ext>
            </a:extLst>
          </p:cNvPr>
          <p:cNvSpPr/>
          <p:nvPr/>
        </p:nvSpPr>
        <p:spPr>
          <a:xfrm flipH="1">
            <a:off x="6724111" y="5778531"/>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4" name="Oval 243">
            <a:extLst>
              <a:ext uri="{FF2B5EF4-FFF2-40B4-BE49-F238E27FC236}">
                <a16:creationId xmlns:a16="http://schemas.microsoft.com/office/drawing/2014/main" id="{34197B05-5585-0B41-ACD8-27DA3E3D6E2C}"/>
              </a:ext>
            </a:extLst>
          </p:cNvPr>
          <p:cNvSpPr/>
          <p:nvPr/>
        </p:nvSpPr>
        <p:spPr>
          <a:xfrm>
            <a:off x="7012052" y="5644352"/>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5" name="Oval 244">
            <a:extLst>
              <a:ext uri="{FF2B5EF4-FFF2-40B4-BE49-F238E27FC236}">
                <a16:creationId xmlns:a16="http://schemas.microsoft.com/office/drawing/2014/main" id="{8A561643-1A8E-5C4C-87D1-F465478AFE2E}"/>
              </a:ext>
            </a:extLst>
          </p:cNvPr>
          <p:cNvSpPr/>
          <p:nvPr/>
        </p:nvSpPr>
        <p:spPr>
          <a:xfrm>
            <a:off x="6790870" y="5681211"/>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6" name="Oval 245">
            <a:extLst>
              <a:ext uri="{FF2B5EF4-FFF2-40B4-BE49-F238E27FC236}">
                <a16:creationId xmlns:a16="http://schemas.microsoft.com/office/drawing/2014/main" id="{F58A0B32-ABDF-B140-975C-55159E003599}"/>
              </a:ext>
            </a:extLst>
          </p:cNvPr>
          <p:cNvSpPr/>
          <p:nvPr/>
        </p:nvSpPr>
        <p:spPr>
          <a:xfrm>
            <a:off x="6902039" y="5674193"/>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7" name="Oval 246">
            <a:extLst>
              <a:ext uri="{FF2B5EF4-FFF2-40B4-BE49-F238E27FC236}">
                <a16:creationId xmlns:a16="http://schemas.microsoft.com/office/drawing/2014/main" id="{39BF5E3A-242C-A949-9BE4-C1FDE4DD28B2}"/>
              </a:ext>
            </a:extLst>
          </p:cNvPr>
          <p:cNvSpPr/>
          <p:nvPr/>
        </p:nvSpPr>
        <p:spPr>
          <a:xfrm>
            <a:off x="6676341" y="5647162"/>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8" name="Oval 247">
            <a:extLst>
              <a:ext uri="{FF2B5EF4-FFF2-40B4-BE49-F238E27FC236}">
                <a16:creationId xmlns:a16="http://schemas.microsoft.com/office/drawing/2014/main" id="{7B9D15BE-981A-DA4D-A0E9-97517872AEF9}"/>
              </a:ext>
            </a:extLst>
          </p:cNvPr>
          <p:cNvSpPr/>
          <p:nvPr/>
        </p:nvSpPr>
        <p:spPr>
          <a:xfrm>
            <a:off x="7104774" y="5575143"/>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9" name="Oval 248">
            <a:extLst>
              <a:ext uri="{FF2B5EF4-FFF2-40B4-BE49-F238E27FC236}">
                <a16:creationId xmlns:a16="http://schemas.microsoft.com/office/drawing/2014/main" id="{AC61EE56-CE04-9142-9A8B-B44302A0AD48}"/>
              </a:ext>
            </a:extLst>
          </p:cNvPr>
          <p:cNvSpPr/>
          <p:nvPr/>
        </p:nvSpPr>
        <p:spPr>
          <a:xfrm>
            <a:off x="6876692" y="5567891"/>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0" name="Oval 249">
            <a:extLst>
              <a:ext uri="{FF2B5EF4-FFF2-40B4-BE49-F238E27FC236}">
                <a16:creationId xmlns:a16="http://schemas.microsoft.com/office/drawing/2014/main" id="{B4336EFC-60FF-3243-9AF1-CE665886FB49}"/>
              </a:ext>
            </a:extLst>
          </p:cNvPr>
          <p:cNvSpPr/>
          <p:nvPr/>
        </p:nvSpPr>
        <p:spPr>
          <a:xfrm>
            <a:off x="6987106" y="5536508"/>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1" name="Oval 250">
            <a:extLst>
              <a:ext uri="{FF2B5EF4-FFF2-40B4-BE49-F238E27FC236}">
                <a16:creationId xmlns:a16="http://schemas.microsoft.com/office/drawing/2014/main" id="{B0BC70F2-D855-C147-98E0-48A683982603}"/>
              </a:ext>
            </a:extLst>
          </p:cNvPr>
          <p:cNvSpPr/>
          <p:nvPr/>
        </p:nvSpPr>
        <p:spPr>
          <a:xfrm>
            <a:off x="6904268" y="5456015"/>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2" name="Flowchart: Magnetic Disk 360">
            <a:extLst>
              <a:ext uri="{FF2B5EF4-FFF2-40B4-BE49-F238E27FC236}">
                <a16:creationId xmlns:a16="http://schemas.microsoft.com/office/drawing/2014/main" id="{829B90EE-FE67-5243-AE90-4F3FAA0DE590}"/>
              </a:ext>
            </a:extLst>
          </p:cNvPr>
          <p:cNvSpPr/>
          <p:nvPr/>
        </p:nvSpPr>
        <p:spPr>
          <a:xfrm>
            <a:off x="6491111" y="4748138"/>
            <a:ext cx="815986" cy="1176379"/>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53" name="Group 252">
            <a:extLst>
              <a:ext uri="{FF2B5EF4-FFF2-40B4-BE49-F238E27FC236}">
                <a16:creationId xmlns:a16="http://schemas.microsoft.com/office/drawing/2014/main" id="{94BC9714-B9B9-E64F-B2B6-7AE273189844}"/>
              </a:ext>
            </a:extLst>
          </p:cNvPr>
          <p:cNvGrpSpPr/>
          <p:nvPr/>
        </p:nvGrpSpPr>
        <p:grpSpPr>
          <a:xfrm>
            <a:off x="6295975" y="5216959"/>
            <a:ext cx="384821" cy="384821"/>
            <a:chOff x="7707356" y="2054306"/>
            <a:chExt cx="438912" cy="438912"/>
          </a:xfrm>
        </p:grpSpPr>
        <p:sp>
          <p:nvSpPr>
            <p:cNvPr id="254" name="Rectangle 253">
              <a:extLst>
                <a:ext uri="{FF2B5EF4-FFF2-40B4-BE49-F238E27FC236}">
                  <a16:creationId xmlns:a16="http://schemas.microsoft.com/office/drawing/2014/main" id="{555B4C50-5627-694E-844E-575E3D65A81A}"/>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5" name="Graphic 176">
              <a:extLst>
                <a:ext uri="{FF2B5EF4-FFF2-40B4-BE49-F238E27FC236}">
                  <a16:creationId xmlns:a16="http://schemas.microsoft.com/office/drawing/2014/main" id="{7BBFD3AE-6327-5C46-A305-03772CCAD7A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256" name="Rectangle 255">
            <a:extLst>
              <a:ext uri="{FF2B5EF4-FFF2-40B4-BE49-F238E27FC236}">
                <a16:creationId xmlns:a16="http://schemas.microsoft.com/office/drawing/2014/main" id="{C9696BA8-E5B2-CC40-AD51-AA790C75D02E}"/>
              </a:ext>
            </a:extLst>
          </p:cNvPr>
          <p:cNvSpPr/>
          <p:nvPr/>
        </p:nvSpPr>
        <p:spPr>
          <a:xfrm>
            <a:off x="6677773" y="4655277"/>
            <a:ext cx="442662" cy="2951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7" name="Arc 256">
            <a:extLst>
              <a:ext uri="{FF2B5EF4-FFF2-40B4-BE49-F238E27FC236}">
                <a16:creationId xmlns:a16="http://schemas.microsoft.com/office/drawing/2014/main" id="{65CA1B78-54EB-854A-8EEB-0E86CF122EEE}"/>
              </a:ext>
            </a:extLst>
          </p:cNvPr>
          <p:cNvSpPr/>
          <p:nvPr/>
        </p:nvSpPr>
        <p:spPr>
          <a:xfrm>
            <a:off x="5237690" y="4002831"/>
            <a:ext cx="1658806" cy="1490296"/>
          </a:xfrm>
          <a:prstGeom prst="arc">
            <a:avLst>
              <a:gd name="adj1" fmla="val 10857285"/>
              <a:gd name="adj2" fmla="val 601328"/>
            </a:avLst>
          </a:prstGeom>
          <a:ln w="2540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Oval 257">
            <a:extLst>
              <a:ext uri="{FF2B5EF4-FFF2-40B4-BE49-F238E27FC236}">
                <a16:creationId xmlns:a16="http://schemas.microsoft.com/office/drawing/2014/main" id="{A81A6358-325D-2242-A6A3-24F940C57C5E}"/>
              </a:ext>
            </a:extLst>
          </p:cNvPr>
          <p:cNvSpPr/>
          <p:nvPr/>
        </p:nvSpPr>
        <p:spPr>
          <a:xfrm>
            <a:off x="6761256" y="5570029"/>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9" name="Rectangle 258">
            <a:extLst>
              <a:ext uri="{FF2B5EF4-FFF2-40B4-BE49-F238E27FC236}">
                <a16:creationId xmlns:a16="http://schemas.microsoft.com/office/drawing/2014/main" id="{81EB769C-0FA5-954E-BCC3-652D9C71ABC3}"/>
              </a:ext>
            </a:extLst>
          </p:cNvPr>
          <p:cNvSpPr/>
          <p:nvPr/>
        </p:nvSpPr>
        <p:spPr>
          <a:xfrm rot="21222664">
            <a:off x="5713218" y="3772933"/>
            <a:ext cx="584825" cy="5312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0" name="Group 259">
            <a:extLst>
              <a:ext uri="{FF2B5EF4-FFF2-40B4-BE49-F238E27FC236}">
                <a16:creationId xmlns:a16="http://schemas.microsoft.com/office/drawing/2014/main" id="{0782115B-BE25-5048-8379-824677B25EB1}"/>
              </a:ext>
            </a:extLst>
          </p:cNvPr>
          <p:cNvGrpSpPr/>
          <p:nvPr/>
        </p:nvGrpSpPr>
        <p:grpSpPr>
          <a:xfrm rot="21222664">
            <a:off x="5800965" y="3823163"/>
            <a:ext cx="422384" cy="429325"/>
            <a:chOff x="2931030" y="3346852"/>
            <a:chExt cx="806395" cy="819647"/>
          </a:xfrm>
        </p:grpSpPr>
        <p:grpSp>
          <p:nvGrpSpPr>
            <p:cNvPr id="261" name="Group 260">
              <a:extLst>
                <a:ext uri="{FF2B5EF4-FFF2-40B4-BE49-F238E27FC236}">
                  <a16:creationId xmlns:a16="http://schemas.microsoft.com/office/drawing/2014/main" id="{664C4D9A-E347-534C-BA27-026466C6D60E}"/>
                </a:ext>
              </a:extLst>
            </p:cNvPr>
            <p:cNvGrpSpPr/>
            <p:nvPr/>
          </p:nvGrpSpPr>
          <p:grpSpPr>
            <a:xfrm>
              <a:off x="2931030" y="3346852"/>
              <a:ext cx="137160" cy="819647"/>
              <a:chOff x="2931030" y="3346852"/>
              <a:chExt cx="137160" cy="819647"/>
            </a:xfrm>
          </p:grpSpPr>
          <p:sp>
            <p:nvSpPr>
              <p:cNvPr id="270" name="Oval 269">
                <a:extLst>
                  <a:ext uri="{FF2B5EF4-FFF2-40B4-BE49-F238E27FC236}">
                    <a16:creationId xmlns:a16="http://schemas.microsoft.com/office/drawing/2014/main" id="{6763D7D5-0E49-074B-A68B-8B5D0FD5ED80}"/>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1" name="Oval 270">
                <a:extLst>
                  <a:ext uri="{FF2B5EF4-FFF2-40B4-BE49-F238E27FC236}">
                    <a16:creationId xmlns:a16="http://schemas.microsoft.com/office/drawing/2014/main" id="{F4ED7E5A-4DE4-6348-B193-5DDE3E27003A}"/>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2" name="Oval 271">
                <a:extLst>
                  <a:ext uri="{FF2B5EF4-FFF2-40B4-BE49-F238E27FC236}">
                    <a16:creationId xmlns:a16="http://schemas.microsoft.com/office/drawing/2014/main" id="{6F0CC79B-33D8-9240-BFCD-31113F45317E}"/>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3" name="Oval 272">
                <a:extLst>
                  <a:ext uri="{FF2B5EF4-FFF2-40B4-BE49-F238E27FC236}">
                    <a16:creationId xmlns:a16="http://schemas.microsoft.com/office/drawing/2014/main" id="{E68EC160-FC9A-DD41-B22B-D12B95B10D01}"/>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62" name="Group 261">
              <a:extLst>
                <a:ext uri="{FF2B5EF4-FFF2-40B4-BE49-F238E27FC236}">
                  <a16:creationId xmlns:a16="http://schemas.microsoft.com/office/drawing/2014/main" id="{F5274E14-6349-3942-B5A9-7D383219FDC7}"/>
                </a:ext>
              </a:extLst>
            </p:cNvPr>
            <p:cNvGrpSpPr/>
            <p:nvPr/>
          </p:nvGrpSpPr>
          <p:grpSpPr>
            <a:xfrm>
              <a:off x="3154108" y="3460599"/>
              <a:ext cx="137160" cy="592152"/>
              <a:chOff x="3162943" y="3486000"/>
              <a:chExt cx="137160" cy="592152"/>
            </a:xfrm>
          </p:grpSpPr>
          <p:sp>
            <p:nvSpPr>
              <p:cNvPr id="267" name="Oval 266">
                <a:extLst>
                  <a:ext uri="{FF2B5EF4-FFF2-40B4-BE49-F238E27FC236}">
                    <a16:creationId xmlns:a16="http://schemas.microsoft.com/office/drawing/2014/main" id="{477625A2-A3D5-FE4D-A365-AE45BF40AF19}"/>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8" name="Oval 267">
                <a:extLst>
                  <a:ext uri="{FF2B5EF4-FFF2-40B4-BE49-F238E27FC236}">
                    <a16:creationId xmlns:a16="http://schemas.microsoft.com/office/drawing/2014/main" id="{A8EB0E65-66C4-4C4B-8FBF-3009C6A487D8}"/>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9" name="Oval 268">
                <a:extLst>
                  <a:ext uri="{FF2B5EF4-FFF2-40B4-BE49-F238E27FC236}">
                    <a16:creationId xmlns:a16="http://schemas.microsoft.com/office/drawing/2014/main" id="{CB0D5270-E81F-CC42-99E4-F8006CA25983}"/>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63" name="Group 262">
              <a:extLst>
                <a:ext uri="{FF2B5EF4-FFF2-40B4-BE49-F238E27FC236}">
                  <a16:creationId xmlns:a16="http://schemas.microsoft.com/office/drawing/2014/main" id="{A090BFA4-6ED1-F641-93B7-311FCEA5C5D7}"/>
                </a:ext>
              </a:extLst>
            </p:cNvPr>
            <p:cNvGrpSpPr/>
            <p:nvPr/>
          </p:nvGrpSpPr>
          <p:grpSpPr>
            <a:xfrm>
              <a:off x="3377186" y="3574347"/>
              <a:ext cx="137160" cy="364656"/>
              <a:chOff x="3394856" y="3625148"/>
              <a:chExt cx="137160" cy="364656"/>
            </a:xfrm>
          </p:grpSpPr>
          <p:sp>
            <p:nvSpPr>
              <p:cNvPr id="265" name="Oval 264">
                <a:extLst>
                  <a:ext uri="{FF2B5EF4-FFF2-40B4-BE49-F238E27FC236}">
                    <a16:creationId xmlns:a16="http://schemas.microsoft.com/office/drawing/2014/main" id="{4DA052E7-6C72-3543-9BB8-6BEF6C0EE5DF}"/>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6" name="Oval 265">
                <a:extLst>
                  <a:ext uri="{FF2B5EF4-FFF2-40B4-BE49-F238E27FC236}">
                    <a16:creationId xmlns:a16="http://schemas.microsoft.com/office/drawing/2014/main" id="{30554E4C-4A45-0940-82E7-9BDA58AF3AF2}"/>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64" name="Oval 263">
              <a:extLst>
                <a:ext uri="{FF2B5EF4-FFF2-40B4-BE49-F238E27FC236}">
                  <a16:creationId xmlns:a16="http://schemas.microsoft.com/office/drawing/2014/main" id="{EE6A8C24-EB6A-B340-B2A2-D062DFE8420D}"/>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74" name="Group 273">
            <a:extLst>
              <a:ext uri="{FF2B5EF4-FFF2-40B4-BE49-F238E27FC236}">
                <a16:creationId xmlns:a16="http://schemas.microsoft.com/office/drawing/2014/main" id="{57938CBE-6EB4-C349-89D6-3126B14429A6}"/>
              </a:ext>
            </a:extLst>
          </p:cNvPr>
          <p:cNvGrpSpPr/>
          <p:nvPr/>
        </p:nvGrpSpPr>
        <p:grpSpPr>
          <a:xfrm>
            <a:off x="8181567" y="4734831"/>
            <a:ext cx="1545326" cy="1115421"/>
            <a:chOff x="9276522" y="3034751"/>
            <a:chExt cx="1762539" cy="1272207"/>
          </a:xfrm>
        </p:grpSpPr>
        <p:sp>
          <p:nvSpPr>
            <p:cNvPr id="275" name="Rectangle 274">
              <a:extLst>
                <a:ext uri="{FF2B5EF4-FFF2-40B4-BE49-F238E27FC236}">
                  <a16:creationId xmlns:a16="http://schemas.microsoft.com/office/drawing/2014/main" id="{8CC68E19-0416-5648-8894-2F5095C6BABF}"/>
                </a:ext>
              </a:extLst>
            </p:cNvPr>
            <p:cNvSpPr/>
            <p:nvPr/>
          </p:nvSpPr>
          <p:spPr>
            <a:xfrm>
              <a:off x="9276522" y="3034751"/>
              <a:ext cx="1762539" cy="993913"/>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76" name="Straight Connector 275">
              <a:extLst>
                <a:ext uri="{FF2B5EF4-FFF2-40B4-BE49-F238E27FC236}">
                  <a16:creationId xmlns:a16="http://schemas.microsoft.com/office/drawing/2014/main" id="{E0715C36-0686-D74F-AC3A-C61BE4410F81}"/>
                </a:ext>
              </a:extLst>
            </p:cNvPr>
            <p:cNvCxnSpPr/>
            <p:nvPr/>
          </p:nvCxnSpPr>
          <p:spPr>
            <a:xfrm flipH="1">
              <a:off x="9846365" y="4028664"/>
              <a:ext cx="311427" cy="278294"/>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AF7CE510-7B17-8242-BE3B-FEE7045CA124}"/>
                </a:ext>
              </a:extLst>
            </p:cNvPr>
            <p:cNvCxnSpPr>
              <a:cxnSpLocks/>
            </p:cNvCxnSpPr>
            <p:nvPr/>
          </p:nvCxnSpPr>
          <p:spPr>
            <a:xfrm>
              <a:off x="10171044" y="4015412"/>
              <a:ext cx="311427" cy="278294"/>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78" name="Group 277">
              <a:extLst>
                <a:ext uri="{FF2B5EF4-FFF2-40B4-BE49-F238E27FC236}">
                  <a16:creationId xmlns:a16="http://schemas.microsoft.com/office/drawing/2014/main" id="{7039D3D4-393E-3444-93AC-2A57279E00FD}"/>
                </a:ext>
              </a:extLst>
            </p:cNvPr>
            <p:cNvGrpSpPr/>
            <p:nvPr/>
          </p:nvGrpSpPr>
          <p:grpSpPr>
            <a:xfrm>
              <a:off x="9445681" y="3347836"/>
              <a:ext cx="1424220" cy="369830"/>
              <a:chOff x="9340581" y="3347836"/>
              <a:chExt cx="1424220" cy="369830"/>
            </a:xfrm>
          </p:grpSpPr>
          <p:grpSp>
            <p:nvGrpSpPr>
              <p:cNvPr id="279" name="Group 278">
                <a:extLst>
                  <a:ext uri="{FF2B5EF4-FFF2-40B4-BE49-F238E27FC236}">
                    <a16:creationId xmlns:a16="http://schemas.microsoft.com/office/drawing/2014/main" id="{A8AC5C9B-31A3-CE4A-BD5A-07C28BEC0AB0}"/>
                  </a:ext>
                </a:extLst>
              </p:cNvPr>
              <p:cNvGrpSpPr/>
              <p:nvPr/>
            </p:nvGrpSpPr>
            <p:grpSpPr>
              <a:xfrm>
                <a:off x="9875718" y="3369430"/>
                <a:ext cx="338556" cy="326643"/>
                <a:chOff x="9893093" y="3356772"/>
                <a:chExt cx="338556" cy="326643"/>
              </a:xfrm>
            </p:grpSpPr>
            <p:cxnSp>
              <p:nvCxnSpPr>
                <p:cNvPr id="286" name="Connector: Elbow 380">
                  <a:extLst>
                    <a:ext uri="{FF2B5EF4-FFF2-40B4-BE49-F238E27FC236}">
                      <a16:creationId xmlns:a16="http://schemas.microsoft.com/office/drawing/2014/main" id="{FCED52D5-E0F5-FD4F-826C-986F586883C5}"/>
                    </a:ext>
                  </a:extLst>
                </p:cNvPr>
                <p:cNvCxnSpPr>
                  <a:cxnSpLocks/>
                </p:cNvCxnSpPr>
                <p:nvPr/>
              </p:nvCxnSpPr>
              <p:spPr>
                <a:xfrm rot="16200000" flipH="1">
                  <a:off x="9899049" y="3350816"/>
                  <a:ext cx="326643" cy="338556"/>
                </a:xfrm>
                <a:prstGeom prst="bentConnector2">
                  <a:avLst/>
                </a:prstGeom>
                <a:ln w="38100">
                  <a:solidFill>
                    <a:srgbClr val="A8A9AD"/>
                  </a:solidFill>
                </a:ln>
              </p:spPr>
              <p:style>
                <a:lnRef idx="1">
                  <a:schemeClr val="accent1"/>
                </a:lnRef>
                <a:fillRef idx="0">
                  <a:schemeClr val="accent1"/>
                </a:fillRef>
                <a:effectRef idx="0">
                  <a:schemeClr val="accent1"/>
                </a:effectRef>
                <a:fontRef idx="minor">
                  <a:schemeClr val="tx1"/>
                </a:fontRef>
              </p:style>
            </p:cxnSp>
            <p:pic>
              <p:nvPicPr>
                <p:cNvPr id="287" name="Picture 286">
                  <a:extLst>
                    <a:ext uri="{FF2B5EF4-FFF2-40B4-BE49-F238E27FC236}">
                      <a16:creationId xmlns:a16="http://schemas.microsoft.com/office/drawing/2014/main" id="{F578F24F-9D6F-7649-8DB2-87DD9793AF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0980" b="11995"/>
                <a:stretch/>
              </p:blipFill>
              <p:spPr>
                <a:xfrm>
                  <a:off x="9921390" y="3361334"/>
                  <a:ext cx="309764" cy="297980"/>
                </a:xfrm>
                <a:prstGeom prst="rect">
                  <a:avLst/>
                </a:prstGeom>
              </p:spPr>
            </p:pic>
          </p:grpSp>
          <p:grpSp>
            <p:nvGrpSpPr>
              <p:cNvPr id="280" name="Group 279">
                <a:extLst>
                  <a:ext uri="{FF2B5EF4-FFF2-40B4-BE49-F238E27FC236}">
                    <a16:creationId xmlns:a16="http://schemas.microsoft.com/office/drawing/2014/main" id="{94CB8AA9-8004-BC4C-97B8-B2782A4066EE}"/>
                  </a:ext>
                </a:extLst>
              </p:cNvPr>
              <p:cNvGrpSpPr/>
              <p:nvPr/>
            </p:nvGrpSpPr>
            <p:grpSpPr>
              <a:xfrm>
                <a:off x="9340581" y="3421489"/>
                <a:ext cx="354441" cy="222524"/>
                <a:chOff x="9340581" y="3444006"/>
                <a:chExt cx="354441" cy="222524"/>
              </a:xfrm>
            </p:grpSpPr>
            <p:cxnSp>
              <p:nvCxnSpPr>
                <p:cNvPr id="284" name="Straight Connector 283">
                  <a:extLst>
                    <a:ext uri="{FF2B5EF4-FFF2-40B4-BE49-F238E27FC236}">
                      <a16:creationId xmlns:a16="http://schemas.microsoft.com/office/drawing/2014/main" id="{DB8E7544-CFD1-FA47-9F53-79B911D33B13}"/>
                    </a:ext>
                  </a:extLst>
                </p:cNvPr>
                <p:cNvCxnSpPr/>
                <p:nvPr/>
              </p:nvCxnSpPr>
              <p:spPr>
                <a:xfrm>
                  <a:off x="9340581" y="3666530"/>
                  <a:ext cx="354441"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85" name="Picture 284">
                  <a:extLst>
                    <a:ext uri="{FF2B5EF4-FFF2-40B4-BE49-F238E27FC236}">
                      <a16:creationId xmlns:a16="http://schemas.microsoft.com/office/drawing/2014/main" id="{CFB5E5F2-02E1-244D-8268-25F89D757C64}"/>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13562"/>
                <a:stretch/>
              </p:blipFill>
              <p:spPr>
                <a:xfrm>
                  <a:off x="9354528" y="3444006"/>
                  <a:ext cx="331559" cy="207162"/>
                </a:xfrm>
                <a:prstGeom prst="rect">
                  <a:avLst/>
                </a:prstGeom>
              </p:spPr>
            </p:pic>
          </p:grpSp>
          <p:grpSp>
            <p:nvGrpSpPr>
              <p:cNvPr id="281" name="Group 280">
                <a:extLst>
                  <a:ext uri="{FF2B5EF4-FFF2-40B4-BE49-F238E27FC236}">
                    <a16:creationId xmlns:a16="http://schemas.microsoft.com/office/drawing/2014/main" id="{748A7945-8A8B-AE49-A44E-CC2CC01A1430}"/>
                  </a:ext>
                </a:extLst>
              </p:cNvPr>
              <p:cNvGrpSpPr/>
              <p:nvPr/>
            </p:nvGrpSpPr>
            <p:grpSpPr>
              <a:xfrm>
                <a:off x="10394971" y="3347836"/>
                <a:ext cx="369830" cy="369830"/>
                <a:chOff x="10403907" y="3386556"/>
                <a:chExt cx="369830" cy="369830"/>
              </a:xfrm>
            </p:grpSpPr>
            <p:sp>
              <p:nvSpPr>
                <p:cNvPr id="282" name="Teardrop 281">
                  <a:extLst>
                    <a:ext uri="{FF2B5EF4-FFF2-40B4-BE49-F238E27FC236}">
                      <a16:creationId xmlns:a16="http://schemas.microsoft.com/office/drawing/2014/main" id="{A026149C-7DAE-404E-BCFF-8CBC78323E94}"/>
                    </a:ext>
                  </a:extLst>
                </p:cNvPr>
                <p:cNvSpPr/>
                <p:nvPr/>
              </p:nvSpPr>
              <p:spPr>
                <a:xfrm>
                  <a:off x="10403907" y="3386556"/>
                  <a:ext cx="369830" cy="369830"/>
                </a:xfrm>
                <a:prstGeom prst="teardrop">
                  <a:avLst>
                    <a:gd name="adj" fmla="val 0"/>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83" name="Picture 282">
                  <a:extLst>
                    <a:ext uri="{FF2B5EF4-FFF2-40B4-BE49-F238E27FC236}">
                      <a16:creationId xmlns:a16="http://schemas.microsoft.com/office/drawing/2014/main" id="{27A695CC-9E71-554C-8740-09D0800E3ED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7716" t="3853" r="3853" b="7716"/>
                <a:stretch/>
              </p:blipFill>
              <p:spPr>
                <a:xfrm>
                  <a:off x="10464360" y="3386556"/>
                  <a:ext cx="309377" cy="309644"/>
                </a:xfrm>
                <a:prstGeom prst="ellipse">
                  <a:avLst/>
                </a:prstGeom>
              </p:spPr>
            </p:pic>
          </p:grpSp>
        </p:grpSp>
      </p:grpSp>
      <p:cxnSp>
        <p:nvCxnSpPr>
          <p:cNvPr id="288" name="Straight Arrow Connector 287">
            <a:extLst>
              <a:ext uri="{FF2B5EF4-FFF2-40B4-BE49-F238E27FC236}">
                <a16:creationId xmlns:a16="http://schemas.microsoft.com/office/drawing/2014/main" id="{4475787D-1573-CB4A-970A-F070E970262D}"/>
              </a:ext>
            </a:extLst>
          </p:cNvPr>
          <p:cNvCxnSpPr>
            <a:cxnSpLocks/>
          </p:cNvCxnSpPr>
          <p:nvPr/>
        </p:nvCxnSpPr>
        <p:spPr>
          <a:xfrm>
            <a:off x="7422312" y="5348935"/>
            <a:ext cx="654685"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89" name="TextBox 288">
            <a:extLst>
              <a:ext uri="{FF2B5EF4-FFF2-40B4-BE49-F238E27FC236}">
                <a16:creationId xmlns:a16="http://schemas.microsoft.com/office/drawing/2014/main" id="{1BB4184A-CCB0-C741-BD60-76ACBCA82099}"/>
              </a:ext>
            </a:extLst>
          </p:cNvPr>
          <p:cNvSpPr txBox="1"/>
          <p:nvPr/>
        </p:nvSpPr>
        <p:spPr>
          <a:xfrm>
            <a:off x="7948996" y="6054891"/>
            <a:ext cx="2002431"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 used for dashboard visualizations</a:t>
            </a:r>
          </a:p>
        </p:txBody>
      </p:sp>
      <p:grpSp>
        <p:nvGrpSpPr>
          <p:cNvPr id="290" name="Group 289">
            <a:extLst>
              <a:ext uri="{FF2B5EF4-FFF2-40B4-BE49-F238E27FC236}">
                <a16:creationId xmlns:a16="http://schemas.microsoft.com/office/drawing/2014/main" id="{A6BBB739-1896-994D-B663-58FDF16DE241}"/>
              </a:ext>
            </a:extLst>
          </p:cNvPr>
          <p:cNvGrpSpPr/>
          <p:nvPr/>
        </p:nvGrpSpPr>
        <p:grpSpPr>
          <a:xfrm>
            <a:off x="4145824" y="4559021"/>
            <a:ext cx="591862" cy="587828"/>
            <a:chOff x="10257340" y="1680054"/>
            <a:chExt cx="394878" cy="392187"/>
          </a:xfrm>
        </p:grpSpPr>
        <p:sp>
          <p:nvSpPr>
            <p:cNvPr id="291" name="Rectangle 290">
              <a:extLst>
                <a:ext uri="{FF2B5EF4-FFF2-40B4-BE49-F238E27FC236}">
                  <a16:creationId xmlns:a16="http://schemas.microsoft.com/office/drawing/2014/main" id="{4053BF98-65A9-8840-9943-1AC17C8E9C3E}"/>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2" name="Picture 291" descr="Image result for azure functions logo png">
              <a:extLst>
                <a:ext uri="{FF2B5EF4-FFF2-40B4-BE49-F238E27FC236}">
                  <a16:creationId xmlns:a16="http://schemas.microsoft.com/office/drawing/2014/main" id="{EE732AA1-F17C-8D40-AE61-5978FA4C185B}"/>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3" name="Group 292">
            <a:extLst>
              <a:ext uri="{FF2B5EF4-FFF2-40B4-BE49-F238E27FC236}">
                <a16:creationId xmlns:a16="http://schemas.microsoft.com/office/drawing/2014/main" id="{9E0BE6E1-2C77-7D45-AB44-8C0DFC3F9D9E}"/>
              </a:ext>
            </a:extLst>
          </p:cNvPr>
          <p:cNvGrpSpPr/>
          <p:nvPr/>
        </p:nvGrpSpPr>
        <p:grpSpPr>
          <a:xfrm>
            <a:off x="4713553" y="5126102"/>
            <a:ext cx="422385" cy="429325"/>
            <a:chOff x="2931030" y="3346852"/>
            <a:chExt cx="806395" cy="819647"/>
          </a:xfrm>
        </p:grpSpPr>
        <p:grpSp>
          <p:nvGrpSpPr>
            <p:cNvPr id="294" name="Group 293">
              <a:extLst>
                <a:ext uri="{FF2B5EF4-FFF2-40B4-BE49-F238E27FC236}">
                  <a16:creationId xmlns:a16="http://schemas.microsoft.com/office/drawing/2014/main" id="{B25ECB94-1FF2-E746-9886-E0D10AD9AEC5}"/>
                </a:ext>
              </a:extLst>
            </p:cNvPr>
            <p:cNvGrpSpPr/>
            <p:nvPr/>
          </p:nvGrpSpPr>
          <p:grpSpPr>
            <a:xfrm>
              <a:off x="2931030" y="3346852"/>
              <a:ext cx="137160" cy="819647"/>
              <a:chOff x="2931030" y="3346852"/>
              <a:chExt cx="137160" cy="819647"/>
            </a:xfrm>
          </p:grpSpPr>
          <p:sp>
            <p:nvSpPr>
              <p:cNvPr id="303" name="Oval 302">
                <a:extLst>
                  <a:ext uri="{FF2B5EF4-FFF2-40B4-BE49-F238E27FC236}">
                    <a16:creationId xmlns:a16="http://schemas.microsoft.com/office/drawing/2014/main" id="{42F43303-DEC6-3145-9938-C2C03648D647}"/>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4" name="Oval 303">
                <a:extLst>
                  <a:ext uri="{FF2B5EF4-FFF2-40B4-BE49-F238E27FC236}">
                    <a16:creationId xmlns:a16="http://schemas.microsoft.com/office/drawing/2014/main" id="{C385806F-0CF2-7240-BA36-6B9B9B2443EF}"/>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5" name="Oval 304">
                <a:extLst>
                  <a:ext uri="{FF2B5EF4-FFF2-40B4-BE49-F238E27FC236}">
                    <a16:creationId xmlns:a16="http://schemas.microsoft.com/office/drawing/2014/main" id="{5CDF4F73-A1D9-FC43-90F1-F73A85692F26}"/>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6" name="Oval 305">
                <a:extLst>
                  <a:ext uri="{FF2B5EF4-FFF2-40B4-BE49-F238E27FC236}">
                    <a16:creationId xmlns:a16="http://schemas.microsoft.com/office/drawing/2014/main" id="{9238C97A-3F6C-C74B-A31A-E9A14CDF1B7A}"/>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95" name="Group 294">
              <a:extLst>
                <a:ext uri="{FF2B5EF4-FFF2-40B4-BE49-F238E27FC236}">
                  <a16:creationId xmlns:a16="http://schemas.microsoft.com/office/drawing/2014/main" id="{8E938193-2DE6-1A4A-8DD6-460485FF4E44}"/>
                </a:ext>
              </a:extLst>
            </p:cNvPr>
            <p:cNvGrpSpPr/>
            <p:nvPr/>
          </p:nvGrpSpPr>
          <p:grpSpPr>
            <a:xfrm>
              <a:off x="3154108" y="3460599"/>
              <a:ext cx="137160" cy="592152"/>
              <a:chOff x="3162943" y="3486000"/>
              <a:chExt cx="137160" cy="592152"/>
            </a:xfrm>
          </p:grpSpPr>
          <p:sp>
            <p:nvSpPr>
              <p:cNvPr id="300" name="Oval 299">
                <a:extLst>
                  <a:ext uri="{FF2B5EF4-FFF2-40B4-BE49-F238E27FC236}">
                    <a16:creationId xmlns:a16="http://schemas.microsoft.com/office/drawing/2014/main" id="{E3A34E54-BB6F-CC40-8D58-2AF08D60EFF0}"/>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1" name="Oval 300">
                <a:extLst>
                  <a:ext uri="{FF2B5EF4-FFF2-40B4-BE49-F238E27FC236}">
                    <a16:creationId xmlns:a16="http://schemas.microsoft.com/office/drawing/2014/main" id="{6F4F53E9-D539-DC45-BF60-3485701B3652}"/>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2" name="Oval 301">
                <a:extLst>
                  <a:ext uri="{FF2B5EF4-FFF2-40B4-BE49-F238E27FC236}">
                    <a16:creationId xmlns:a16="http://schemas.microsoft.com/office/drawing/2014/main" id="{A8B0F024-40A2-744E-AB15-B69EED5ECF7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96" name="Group 295">
              <a:extLst>
                <a:ext uri="{FF2B5EF4-FFF2-40B4-BE49-F238E27FC236}">
                  <a16:creationId xmlns:a16="http://schemas.microsoft.com/office/drawing/2014/main" id="{54E9C11A-A624-064A-A465-057DF0391FA5}"/>
                </a:ext>
              </a:extLst>
            </p:cNvPr>
            <p:cNvGrpSpPr/>
            <p:nvPr/>
          </p:nvGrpSpPr>
          <p:grpSpPr>
            <a:xfrm>
              <a:off x="3377186" y="3574347"/>
              <a:ext cx="137160" cy="364656"/>
              <a:chOff x="3394856" y="3625148"/>
              <a:chExt cx="137160" cy="364656"/>
            </a:xfrm>
          </p:grpSpPr>
          <p:sp>
            <p:nvSpPr>
              <p:cNvPr id="298" name="Oval 297">
                <a:extLst>
                  <a:ext uri="{FF2B5EF4-FFF2-40B4-BE49-F238E27FC236}">
                    <a16:creationId xmlns:a16="http://schemas.microsoft.com/office/drawing/2014/main" id="{56D514D3-2C39-FF42-8F4F-09F8F296630F}"/>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9" name="Oval 298">
                <a:extLst>
                  <a:ext uri="{FF2B5EF4-FFF2-40B4-BE49-F238E27FC236}">
                    <a16:creationId xmlns:a16="http://schemas.microsoft.com/office/drawing/2014/main" id="{4ABDCCE5-02DB-564E-86EE-FDAFB44455B8}"/>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97" name="Oval 296">
              <a:extLst>
                <a:ext uri="{FF2B5EF4-FFF2-40B4-BE49-F238E27FC236}">
                  <a16:creationId xmlns:a16="http://schemas.microsoft.com/office/drawing/2014/main" id="{D9EF155F-744A-9748-8138-057ECEB64EC3}"/>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117583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Automation of scheduled tasks</a:t>
            </a: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endParaRPr lang="en-US"/>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540747"/>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A customer database is analyzed for duplicate entries every 15 minutes, to avoid multiple communications being sent out to same customers.</a:t>
            </a: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Financial Services</a:t>
            </a:r>
          </a:p>
        </p:txBody>
      </p:sp>
      <p:pic>
        <p:nvPicPr>
          <p:cNvPr id="155" name="Picture 154" descr="A person sitting in a room&#10;&#10;Description generated with very high confidence">
            <a:extLst>
              <a:ext uri="{FF2B5EF4-FFF2-40B4-BE49-F238E27FC236}">
                <a16:creationId xmlns:a16="http://schemas.microsoft.com/office/drawing/2014/main" id="{5B9910CF-CDB2-934D-A119-7E08CF037E4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70946" y="0"/>
            <a:ext cx="2265529" cy="6994525"/>
          </a:xfrm>
          <a:prstGeom prst="rect">
            <a:avLst/>
          </a:prstGeom>
        </p:spPr>
      </p:pic>
      <p:sp>
        <p:nvSpPr>
          <p:cNvPr id="156" name="TextBox 155">
            <a:extLst>
              <a:ext uri="{FF2B5EF4-FFF2-40B4-BE49-F238E27FC236}">
                <a16:creationId xmlns:a16="http://schemas.microsoft.com/office/drawing/2014/main" id="{AE6A83FF-5770-B64F-97D5-F115E391E053}"/>
              </a:ext>
            </a:extLst>
          </p:cNvPr>
          <p:cNvSpPr txBox="1"/>
          <p:nvPr/>
        </p:nvSpPr>
        <p:spPr>
          <a:xfrm>
            <a:off x="3266703" y="5529590"/>
            <a:ext cx="2283413"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 cleans a database every 15 minutes…</a:t>
            </a:r>
          </a:p>
        </p:txBody>
      </p:sp>
      <p:sp>
        <p:nvSpPr>
          <p:cNvPr id="157" name="TextBox 156">
            <a:extLst>
              <a:ext uri="{FF2B5EF4-FFF2-40B4-BE49-F238E27FC236}">
                <a16:creationId xmlns:a16="http://schemas.microsoft.com/office/drawing/2014/main" id="{75A5CE46-D7CC-5B40-BDFD-1B7336C27E75}"/>
              </a:ext>
            </a:extLst>
          </p:cNvPr>
          <p:cNvSpPr txBox="1"/>
          <p:nvPr/>
        </p:nvSpPr>
        <p:spPr>
          <a:xfrm>
            <a:off x="6136534" y="5529590"/>
            <a:ext cx="202343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eduplicating entries based on business logic</a:t>
            </a:r>
          </a:p>
        </p:txBody>
      </p:sp>
      <p:grpSp>
        <p:nvGrpSpPr>
          <p:cNvPr id="158" name="Group 157">
            <a:extLst>
              <a:ext uri="{FF2B5EF4-FFF2-40B4-BE49-F238E27FC236}">
                <a16:creationId xmlns:a16="http://schemas.microsoft.com/office/drawing/2014/main" id="{991F73D8-62A8-CF48-995A-570B4E3E009E}"/>
              </a:ext>
            </a:extLst>
          </p:cNvPr>
          <p:cNvGrpSpPr/>
          <p:nvPr/>
        </p:nvGrpSpPr>
        <p:grpSpPr>
          <a:xfrm>
            <a:off x="616712" y="2855708"/>
            <a:ext cx="1949330" cy="2488432"/>
            <a:chOff x="4128959" y="2310115"/>
            <a:chExt cx="1949330" cy="2488432"/>
          </a:xfrm>
        </p:grpSpPr>
        <p:sp>
          <p:nvSpPr>
            <p:cNvPr id="159" name="Oval 158">
              <a:extLst>
                <a:ext uri="{FF2B5EF4-FFF2-40B4-BE49-F238E27FC236}">
                  <a16:creationId xmlns:a16="http://schemas.microsoft.com/office/drawing/2014/main" id="{5EA0B692-1666-DE47-B209-C535419BF8B9}"/>
                </a:ext>
              </a:extLst>
            </p:cNvPr>
            <p:cNvSpPr/>
            <p:nvPr/>
          </p:nvSpPr>
          <p:spPr>
            <a:xfrm>
              <a:off x="4395737"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Oval 159">
              <a:extLst>
                <a:ext uri="{FF2B5EF4-FFF2-40B4-BE49-F238E27FC236}">
                  <a16:creationId xmlns:a16="http://schemas.microsoft.com/office/drawing/2014/main" id="{1702BE07-9651-4147-B9B5-9C629A71E5BD}"/>
                </a:ext>
              </a:extLst>
            </p:cNvPr>
            <p:cNvSpPr/>
            <p:nvPr/>
          </p:nvSpPr>
          <p:spPr>
            <a:xfrm>
              <a:off x="4530330"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Oval 164">
              <a:extLst>
                <a:ext uri="{FF2B5EF4-FFF2-40B4-BE49-F238E27FC236}">
                  <a16:creationId xmlns:a16="http://schemas.microsoft.com/office/drawing/2014/main" id="{625D08C4-B6A0-BD4B-B76E-0C01BAF10AEE}"/>
                </a:ext>
              </a:extLst>
            </p:cNvPr>
            <p:cNvSpPr/>
            <p:nvPr/>
          </p:nvSpPr>
          <p:spPr>
            <a:xfrm>
              <a:off x="4664923"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Oval 168">
              <a:extLst>
                <a:ext uri="{FF2B5EF4-FFF2-40B4-BE49-F238E27FC236}">
                  <a16:creationId xmlns:a16="http://schemas.microsoft.com/office/drawing/2014/main" id="{B3DE526B-D106-F341-84B8-CDD62A23E10A}"/>
                </a:ext>
              </a:extLst>
            </p:cNvPr>
            <p:cNvSpPr/>
            <p:nvPr/>
          </p:nvSpPr>
          <p:spPr>
            <a:xfrm>
              <a:off x="4799516"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Oval 169">
              <a:extLst>
                <a:ext uri="{FF2B5EF4-FFF2-40B4-BE49-F238E27FC236}">
                  <a16:creationId xmlns:a16="http://schemas.microsoft.com/office/drawing/2014/main" id="{A8ADD37F-F1FE-7743-BCDD-F5C4696A7E8D}"/>
                </a:ext>
              </a:extLst>
            </p:cNvPr>
            <p:cNvSpPr/>
            <p:nvPr/>
          </p:nvSpPr>
          <p:spPr>
            <a:xfrm>
              <a:off x="493260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Oval 170">
              <a:extLst>
                <a:ext uri="{FF2B5EF4-FFF2-40B4-BE49-F238E27FC236}">
                  <a16:creationId xmlns:a16="http://schemas.microsoft.com/office/drawing/2014/main" id="{F5FFA033-C107-F545-ACAD-316B76EF0D55}"/>
                </a:ext>
              </a:extLst>
            </p:cNvPr>
            <p:cNvSpPr/>
            <p:nvPr/>
          </p:nvSpPr>
          <p:spPr>
            <a:xfrm>
              <a:off x="506719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4" name="Oval 173">
              <a:extLst>
                <a:ext uri="{FF2B5EF4-FFF2-40B4-BE49-F238E27FC236}">
                  <a16:creationId xmlns:a16="http://schemas.microsoft.com/office/drawing/2014/main" id="{C789A3A9-0C71-5C4B-9823-99936B2AAC5A}"/>
                </a:ext>
              </a:extLst>
            </p:cNvPr>
            <p:cNvSpPr/>
            <p:nvPr/>
          </p:nvSpPr>
          <p:spPr>
            <a:xfrm>
              <a:off x="520178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Oval 191">
              <a:extLst>
                <a:ext uri="{FF2B5EF4-FFF2-40B4-BE49-F238E27FC236}">
                  <a16:creationId xmlns:a16="http://schemas.microsoft.com/office/drawing/2014/main" id="{84DF65E7-BAF7-8D46-9D04-35B5ADE8F2C6}"/>
                </a:ext>
              </a:extLst>
            </p:cNvPr>
            <p:cNvSpPr/>
            <p:nvPr/>
          </p:nvSpPr>
          <p:spPr>
            <a:xfrm>
              <a:off x="533638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Oval 192">
              <a:extLst>
                <a:ext uri="{FF2B5EF4-FFF2-40B4-BE49-F238E27FC236}">
                  <a16:creationId xmlns:a16="http://schemas.microsoft.com/office/drawing/2014/main" id="{36F0751C-2D96-A74C-AD28-620A94C23D57}"/>
                </a:ext>
              </a:extLst>
            </p:cNvPr>
            <p:cNvSpPr/>
            <p:nvPr/>
          </p:nvSpPr>
          <p:spPr>
            <a:xfrm>
              <a:off x="546946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03E167C8-D2BA-3249-875E-519056CA0AA3}"/>
                </a:ext>
              </a:extLst>
            </p:cNvPr>
            <p:cNvSpPr/>
            <p:nvPr/>
          </p:nvSpPr>
          <p:spPr>
            <a:xfrm>
              <a:off x="560405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D3F2F842-BCB9-8F4F-BD3F-FC0C9483FD2D}"/>
                </a:ext>
              </a:extLst>
            </p:cNvPr>
            <p:cNvSpPr/>
            <p:nvPr/>
          </p:nvSpPr>
          <p:spPr>
            <a:xfrm>
              <a:off x="573865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F85B9EC0-7241-ED45-8E9E-2FB14307ABDC}"/>
                </a:ext>
              </a:extLst>
            </p:cNvPr>
            <p:cNvSpPr/>
            <p:nvPr/>
          </p:nvSpPr>
          <p:spPr>
            <a:xfrm>
              <a:off x="587324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7" name="Group 196">
              <a:extLst>
                <a:ext uri="{FF2B5EF4-FFF2-40B4-BE49-F238E27FC236}">
                  <a16:creationId xmlns:a16="http://schemas.microsoft.com/office/drawing/2014/main" id="{ECA776D4-D93F-404B-89B9-3DB12B5C4EE2}"/>
                </a:ext>
              </a:extLst>
            </p:cNvPr>
            <p:cNvGrpSpPr/>
            <p:nvPr/>
          </p:nvGrpSpPr>
          <p:grpSpPr>
            <a:xfrm>
              <a:off x="4332005" y="4276476"/>
              <a:ext cx="1746284" cy="137160"/>
              <a:chOff x="3571766" y="4774243"/>
              <a:chExt cx="1746284" cy="137160"/>
            </a:xfrm>
          </p:grpSpPr>
          <p:sp>
            <p:nvSpPr>
              <p:cNvPr id="387" name="Oval 386">
                <a:extLst>
                  <a:ext uri="{FF2B5EF4-FFF2-40B4-BE49-F238E27FC236}">
                    <a16:creationId xmlns:a16="http://schemas.microsoft.com/office/drawing/2014/main" id="{49527AED-BC0D-084B-8CCB-44DCD29DFCF3}"/>
                  </a:ext>
                </a:extLst>
              </p:cNvPr>
              <p:cNvSpPr/>
              <p:nvPr/>
            </p:nvSpPr>
            <p:spPr>
              <a:xfrm>
                <a:off x="357176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8" name="Oval 387">
                <a:extLst>
                  <a:ext uri="{FF2B5EF4-FFF2-40B4-BE49-F238E27FC236}">
                    <a16:creationId xmlns:a16="http://schemas.microsoft.com/office/drawing/2014/main" id="{9C6D6A43-AF20-554A-B098-5900AF3F61C1}"/>
                  </a:ext>
                </a:extLst>
              </p:cNvPr>
              <p:cNvSpPr/>
              <p:nvPr/>
            </p:nvSpPr>
            <p:spPr>
              <a:xfrm>
                <a:off x="3706359"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9" name="Oval 388">
                <a:extLst>
                  <a:ext uri="{FF2B5EF4-FFF2-40B4-BE49-F238E27FC236}">
                    <a16:creationId xmlns:a16="http://schemas.microsoft.com/office/drawing/2014/main" id="{0058502C-5BC6-174A-82CB-EE41A77912E6}"/>
                  </a:ext>
                </a:extLst>
              </p:cNvPr>
              <p:cNvSpPr/>
              <p:nvPr/>
            </p:nvSpPr>
            <p:spPr>
              <a:xfrm>
                <a:off x="3840952"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0" name="Oval 389">
                <a:extLst>
                  <a:ext uri="{FF2B5EF4-FFF2-40B4-BE49-F238E27FC236}">
                    <a16:creationId xmlns:a16="http://schemas.microsoft.com/office/drawing/2014/main" id="{25245AC6-8B47-9D47-837C-E07BF394B074}"/>
                  </a:ext>
                </a:extLst>
              </p:cNvPr>
              <p:cNvSpPr/>
              <p:nvPr/>
            </p:nvSpPr>
            <p:spPr>
              <a:xfrm>
                <a:off x="3975545"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1" name="Oval 390">
                <a:extLst>
                  <a:ext uri="{FF2B5EF4-FFF2-40B4-BE49-F238E27FC236}">
                    <a16:creationId xmlns:a16="http://schemas.microsoft.com/office/drawing/2014/main" id="{92F6967D-C684-8040-A40B-E73D932733EA}"/>
                  </a:ext>
                </a:extLst>
              </p:cNvPr>
              <p:cNvSpPr/>
              <p:nvPr/>
            </p:nvSpPr>
            <p:spPr>
              <a:xfrm>
                <a:off x="410863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2" name="Oval 391">
                <a:extLst>
                  <a:ext uri="{FF2B5EF4-FFF2-40B4-BE49-F238E27FC236}">
                    <a16:creationId xmlns:a16="http://schemas.microsoft.com/office/drawing/2014/main" id="{FC2829C9-A234-AB42-A0B6-51AEC19B628A}"/>
                  </a:ext>
                </a:extLst>
              </p:cNvPr>
              <p:cNvSpPr/>
              <p:nvPr/>
            </p:nvSpPr>
            <p:spPr>
              <a:xfrm>
                <a:off x="4243223"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3" name="Oval 392">
                <a:extLst>
                  <a:ext uri="{FF2B5EF4-FFF2-40B4-BE49-F238E27FC236}">
                    <a16:creationId xmlns:a16="http://schemas.microsoft.com/office/drawing/2014/main" id="{FD8FB8CB-C058-454C-933D-7813DEEEA1EC}"/>
                  </a:ext>
                </a:extLst>
              </p:cNvPr>
              <p:cNvSpPr/>
              <p:nvPr/>
            </p:nvSpPr>
            <p:spPr>
              <a:xfrm>
                <a:off x="437781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4" name="Oval 393">
                <a:extLst>
                  <a:ext uri="{FF2B5EF4-FFF2-40B4-BE49-F238E27FC236}">
                    <a16:creationId xmlns:a16="http://schemas.microsoft.com/office/drawing/2014/main" id="{5400FC8F-05A1-4142-AE24-BB6CD6B42B04}"/>
                  </a:ext>
                </a:extLst>
              </p:cNvPr>
              <p:cNvSpPr/>
              <p:nvPr/>
            </p:nvSpPr>
            <p:spPr>
              <a:xfrm>
                <a:off x="4512409"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5" name="Oval 394">
                <a:extLst>
                  <a:ext uri="{FF2B5EF4-FFF2-40B4-BE49-F238E27FC236}">
                    <a16:creationId xmlns:a16="http://schemas.microsoft.com/office/drawing/2014/main" id="{01D7EAA2-6038-B24E-A687-8FB7B7233E2A}"/>
                  </a:ext>
                </a:extLst>
              </p:cNvPr>
              <p:cNvSpPr/>
              <p:nvPr/>
            </p:nvSpPr>
            <p:spPr>
              <a:xfrm>
                <a:off x="4645493"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6" name="Oval 395">
                <a:extLst>
                  <a:ext uri="{FF2B5EF4-FFF2-40B4-BE49-F238E27FC236}">
                    <a16:creationId xmlns:a16="http://schemas.microsoft.com/office/drawing/2014/main" id="{760420AB-7CA4-2245-A225-A217E30022C5}"/>
                  </a:ext>
                </a:extLst>
              </p:cNvPr>
              <p:cNvSpPr/>
              <p:nvPr/>
            </p:nvSpPr>
            <p:spPr>
              <a:xfrm>
                <a:off x="4780086"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7" name="Oval 396">
                <a:extLst>
                  <a:ext uri="{FF2B5EF4-FFF2-40B4-BE49-F238E27FC236}">
                    <a16:creationId xmlns:a16="http://schemas.microsoft.com/office/drawing/2014/main" id="{86702161-C022-984E-82A7-82CF6F575CD6}"/>
                  </a:ext>
                </a:extLst>
              </p:cNvPr>
              <p:cNvSpPr/>
              <p:nvPr/>
            </p:nvSpPr>
            <p:spPr>
              <a:xfrm>
                <a:off x="4914679"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8" name="Oval 397">
                <a:extLst>
                  <a:ext uri="{FF2B5EF4-FFF2-40B4-BE49-F238E27FC236}">
                    <a16:creationId xmlns:a16="http://schemas.microsoft.com/office/drawing/2014/main" id="{96A9D23F-46A5-5843-AB90-AE7C8308030A}"/>
                  </a:ext>
                </a:extLst>
              </p:cNvPr>
              <p:cNvSpPr/>
              <p:nvPr/>
            </p:nvSpPr>
            <p:spPr>
              <a:xfrm>
                <a:off x="5049272"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9" name="Oval 398">
                <a:extLst>
                  <a:ext uri="{FF2B5EF4-FFF2-40B4-BE49-F238E27FC236}">
                    <a16:creationId xmlns:a16="http://schemas.microsoft.com/office/drawing/2014/main" id="{6AE53A46-5800-6F4C-A0D8-F7B8672524CB}"/>
                  </a:ext>
                </a:extLst>
              </p:cNvPr>
              <p:cNvSpPr/>
              <p:nvPr/>
            </p:nvSpPr>
            <p:spPr>
              <a:xfrm>
                <a:off x="518089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8" name="Oval 197">
              <a:extLst>
                <a:ext uri="{FF2B5EF4-FFF2-40B4-BE49-F238E27FC236}">
                  <a16:creationId xmlns:a16="http://schemas.microsoft.com/office/drawing/2014/main" id="{F0888C5D-2A5C-A74A-8FA0-ABC1DEEF5B2B}"/>
                </a:ext>
              </a:extLst>
            </p:cNvPr>
            <p:cNvSpPr/>
            <p:nvPr/>
          </p:nvSpPr>
          <p:spPr>
            <a:xfrm>
              <a:off x="439573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9" name="Oval 198">
              <a:extLst>
                <a:ext uri="{FF2B5EF4-FFF2-40B4-BE49-F238E27FC236}">
                  <a16:creationId xmlns:a16="http://schemas.microsoft.com/office/drawing/2014/main" id="{393721B2-1A38-E746-9142-6E6FF649E5B4}"/>
                </a:ext>
              </a:extLst>
            </p:cNvPr>
            <p:cNvSpPr/>
            <p:nvPr/>
          </p:nvSpPr>
          <p:spPr>
            <a:xfrm>
              <a:off x="453033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0" name="Oval 199">
              <a:extLst>
                <a:ext uri="{FF2B5EF4-FFF2-40B4-BE49-F238E27FC236}">
                  <a16:creationId xmlns:a16="http://schemas.microsoft.com/office/drawing/2014/main" id="{E7408F07-0C46-E94D-A4E7-4D718CCE06E1}"/>
                </a:ext>
              </a:extLst>
            </p:cNvPr>
            <p:cNvSpPr/>
            <p:nvPr/>
          </p:nvSpPr>
          <p:spPr>
            <a:xfrm>
              <a:off x="466492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1" name="Oval 200">
              <a:extLst>
                <a:ext uri="{FF2B5EF4-FFF2-40B4-BE49-F238E27FC236}">
                  <a16:creationId xmlns:a16="http://schemas.microsoft.com/office/drawing/2014/main" id="{5C19A556-9EAB-D54D-B4B8-214018C94814}"/>
                </a:ext>
              </a:extLst>
            </p:cNvPr>
            <p:cNvSpPr/>
            <p:nvPr/>
          </p:nvSpPr>
          <p:spPr>
            <a:xfrm>
              <a:off x="4799516"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3" name="Oval 202">
              <a:extLst>
                <a:ext uri="{FF2B5EF4-FFF2-40B4-BE49-F238E27FC236}">
                  <a16:creationId xmlns:a16="http://schemas.microsoft.com/office/drawing/2014/main" id="{E0217D96-437F-834C-854A-2AB02113C4FD}"/>
                </a:ext>
              </a:extLst>
            </p:cNvPr>
            <p:cNvSpPr/>
            <p:nvPr/>
          </p:nvSpPr>
          <p:spPr>
            <a:xfrm>
              <a:off x="4932601"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4" name="Oval 203">
              <a:extLst>
                <a:ext uri="{FF2B5EF4-FFF2-40B4-BE49-F238E27FC236}">
                  <a16:creationId xmlns:a16="http://schemas.microsoft.com/office/drawing/2014/main" id="{470F524C-A3C3-9F4F-9A32-70EAF5521C96}"/>
                </a:ext>
              </a:extLst>
            </p:cNvPr>
            <p:cNvSpPr/>
            <p:nvPr/>
          </p:nvSpPr>
          <p:spPr>
            <a:xfrm>
              <a:off x="506719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 name="Oval 204">
              <a:extLst>
                <a:ext uri="{FF2B5EF4-FFF2-40B4-BE49-F238E27FC236}">
                  <a16:creationId xmlns:a16="http://schemas.microsoft.com/office/drawing/2014/main" id="{7EB4DD15-45E6-0F47-A79C-231E6A3F9DCE}"/>
                </a:ext>
              </a:extLst>
            </p:cNvPr>
            <p:cNvSpPr/>
            <p:nvPr/>
          </p:nvSpPr>
          <p:spPr>
            <a:xfrm>
              <a:off x="5201787"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6" name="Oval 205">
              <a:extLst>
                <a:ext uri="{FF2B5EF4-FFF2-40B4-BE49-F238E27FC236}">
                  <a16:creationId xmlns:a16="http://schemas.microsoft.com/office/drawing/2014/main" id="{84CBEDAF-C6D4-AA49-8F29-919AF3FA2CCC}"/>
                </a:ext>
              </a:extLst>
            </p:cNvPr>
            <p:cNvSpPr/>
            <p:nvPr/>
          </p:nvSpPr>
          <p:spPr>
            <a:xfrm>
              <a:off x="533638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7" name="Oval 206">
              <a:extLst>
                <a:ext uri="{FF2B5EF4-FFF2-40B4-BE49-F238E27FC236}">
                  <a16:creationId xmlns:a16="http://schemas.microsoft.com/office/drawing/2014/main" id="{B274CF05-5664-BB4D-8654-8D5E1D53FA72}"/>
                </a:ext>
              </a:extLst>
            </p:cNvPr>
            <p:cNvSpPr/>
            <p:nvPr/>
          </p:nvSpPr>
          <p:spPr>
            <a:xfrm>
              <a:off x="546946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64A31AE8-CD8A-5D4D-A217-DE1C1D6150E8}"/>
                </a:ext>
              </a:extLst>
            </p:cNvPr>
            <p:cNvSpPr/>
            <p:nvPr/>
          </p:nvSpPr>
          <p:spPr>
            <a:xfrm>
              <a:off x="560405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9" name="Oval 208">
              <a:extLst>
                <a:ext uri="{FF2B5EF4-FFF2-40B4-BE49-F238E27FC236}">
                  <a16:creationId xmlns:a16="http://schemas.microsoft.com/office/drawing/2014/main" id="{35C10AF1-34DE-AB43-9DBC-0823AC09DAC3}"/>
                </a:ext>
              </a:extLst>
            </p:cNvPr>
            <p:cNvSpPr/>
            <p:nvPr/>
          </p:nvSpPr>
          <p:spPr>
            <a:xfrm>
              <a:off x="573865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0" name="Oval 209">
              <a:extLst>
                <a:ext uri="{FF2B5EF4-FFF2-40B4-BE49-F238E27FC236}">
                  <a16:creationId xmlns:a16="http://schemas.microsoft.com/office/drawing/2014/main" id="{60864D9C-19B2-C24C-BE41-0CEB89D6C70F}"/>
                </a:ext>
              </a:extLst>
            </p:cNvPr>
            <p:cNvSpPr/>
            <p:nvPr/>
          </p:nvSpPr>
          <p:spPr>
            <a:xfrm>
              <a:off x="5873243"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CC68FAA9-81F2-B14F-88A8-BF34152B37D4}"/>
                </a:ext>
              </a:extLst>
            </p:cNvPr>
            <p:cNvSpPr/>
            <p:nvPr/>
          </p:nvSpPr>
          <p:spPr>
            <a:xfrm>
              <a:off x="4332005"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2" name="Oval 211">
              <a:extLst>
                <a:ext uri="{FF2B5EF4-FFF2-40B4-BE49-F238E27FC236}">
                  <a16:creationId xmlns:a16="http://schemas.microsoft.com/office/drawing/2014/main" id="{C76420DC-A5EE-D346-AA56-9723470701B2}"/>
                </a:ext>
              </a:extLst>
            </p:cNvPr>
            <p:cNvSpPr/>
            <p:nvPr/>
          </p:nvSpPr>
          <p:spPr>
            <a:xfrm>
              <a:off x="4466598"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3" name="Oval 212">
              <a:extLst>
                <a:ext uri="{FF2B5EF4-FFF2-40B4-BE49-F238E27FC236}">
                  <a16:creationId xmlns:a16="http://schemas.microsoft.com/office/drawing/2014/main" id="{694B3E4A-5831-E143-8713-8B0AF68D332D}"/>
                </a:ext>
              </a:extLst>
            </p:cNvPr>
            <p:cNvSpPr/>
            <p:nvPr/>
          </p:nvSpPr>
          <p:spPr>
            <a:xfrm>
              <a:off x="4601191"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4" name="Oval 213">
              <a:extLst>
                <a:ext uri="{FF2B5EF4-FFF2-40B4-BE49-F238E27FC236}">
                  <a16:creationId xmlns:a16="http://schemas.microsoft.com/office/drawing/2014/main" id="{3FC12446-F990-C740-9975-F9AC4BCA6746}"/>
                </a:ext>
              </a:extLst>
            </p:cNvPr>
            <p:cNvSpPr/>
            <p:nvPr/>
          </p:nvSpPr>
          <p:spPr>
            <a:xfrm>
              <a:off x="4735784"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5" name="Oval 214">
              <a:extLst>
                <a:ext uri="{FF2B5EF4-FFF2-40B4-BE49-F238E27FC236}">
                  <a16:creationId xmlns:a16="http://schemas.microsoft.com/office/drawing/2014/main" id="{D56E58B8-C4F7-D642-BAE0-D7A5770E1C37}"/>
                </a:ext>
              </a:extLst>
            </p:cNvPr>
            <p:cNvSpPr/>
            <p:nvPr/>
          </p:nvSpPr>
          <p:spPr>
            <a:xfrm>
              <a:off x="4868869"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6" name="Oval 215">
              <a:extLst>
                <a:ext uri="{FF2B5EF4-FFF2-40B4-BE49-F238E27FC236}">
                  <a16:creationId xmlns:a16="http://schemas.microsoft.com/office/drawing/2014/main" id="{C8DB20CF-395D-F94C-A6A8-2219808C1DB4}"/>
                </a:ext>
              </a:extLst>
            </p:cNvPr>
            <p:cNvSpPr/>
            <p:nvPr/>
          </p:nvSpPr>
          <p:spPr>
            <a:xfrm>
              <a:off x="5003462"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7" name="Oval 306">
              <a:extLst>
                <a:ext uri="{FF2B5EF4-FFF2-40B4-BE49-F238E27FC236}">
                  <a16:creationId xmlns:a16="http://schemas.microsoft.com/office/drawing/2014/main" id="{6600F207-F8C4-824C-B27C-14F5348A19F5}"/>
                </a:ext>
              </a:extLst>
            </p:cNvPr>
            <p:cNvSpPr/>
            <p:nvPr/>
          </p:nvSpPr>
          <p:spPr>
            <a:xfrm>
              <a:off x="513805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8" name="Oval 307">
              <a:extLst>
                <a:ext uri="{FF2B5EF4-FFF2-40B4-BE49-F238E27FC236}">
                  <a16:creationId xmlns:a16="http://schemas.microsoft.com/office/drawing/2014/main" id="{866923C3-9B9C-6C48-AA97-EBE43FA474C0}"/>
                </a:ext>
              </a:extLst>
            </p:cNvPr>
            <p:cNvSpPr/>
            <p:nvPr/>
          </p:nvSpPr>
          <p:spPr>
            <a:xfrm>
              <a:off x="5272648"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9" name="Oval 308">
              <a:extLst>
                <a:ext uri="{FF2B5EF4-FFF2-40B4-BE49-F238E27FC236}">
                  <a16:creationId xmlns:a16="http://schemas.microsoft.com/office/drawing/2014/main" id="{055AEF55-7A2E-744B-9B4E-8BACF9F7712E}"/>
                </a:ext>
              </a:extLst>
            </p:cNvPr>
            <p:cNvSpPr/>
            <p:nvPr/>
          </p:nvSpPr>
          <p:spPr>
            <a:xfrm>
              <a:off x="5405732"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0" name="Oval 309">
              <a:extLst>
                <a:ext uri="{FF2B5EF4-FFF2-40B4-BE49-F238E27FC236}">
                  <a16:creationId xmlns:a16="http://schemas.microsoft.com/office/drawing/2014/main" id="{947B1A32-A5C1-2E4C-8789-7AAE12E0AAE2}"/>
                </a:ext>
              </a:extLst>
            </p:cNvPr>
            <p:cNvSpPr/>
            <p:nvPr/>
          </p:nvSpPr>
          <p:spPr>
            <a:xfrm>
              <a:off x="554032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1" name="Oval 310">
              <a:extLst>
                <a:ext uri="{FF2B5EF4-FFF2-40B4-BE49-F238E27FC236}">
                  <a16:creationId xmlns:a16="http://schemas.microsoft.com/office/drawing/2014/main" id="{29841EE5-1695-FF4F-9ECB-BBE071BC8A5D}"/>
                </a:ext>
              </a:extLst>
            </p:cNvPr>
            <p:cNvSpPr/>
            <p:nvPr/>
          </p:nvSpPr>
          <p:spPr>
            <a:xfrm>
              <a:off x="5674918"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2" name="Oval 311">
              <a:extLst>
                <a:ext uri="{FF2B5EF4-FFF2-40B4-BE49-F238E27FC236}">
                  <a16:creationId xmlns:a16="http://schemas.microsoft.com/office/drawing/2014/main" id="{FDEED129-26B1-A94F-A8E9-8D2C46297794}"/>
                </a:ext>
              </a:extLst>
            </p:cNvPr>
            <p:cNvSpPr/>
            <p:nvPr/>
          </p:nvSpPr>
          <p:spPr>
            <a:xfrm>
              <a:off x="5809511"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3" name="Oval 312">
              <a:extLst>
                <a:ext uri="{FF2B5EF4-FFF2-40B4-BE49-F238E27FC236}">
                  <a16:creationId xmlns:a16="http://schemas.microsoft.com/office/drawing/2014/main" id="{D933E35E-7DCF-1C4D-9351-332638EE8A8A}"/>
                </a:ext>
              </a:extLst>
            </p:cNvPr>
            <p:cNvSpPr/>
            <p:nvPr/>
          </p:nvSpPr>
          <p:spPr>
            <a:xfrm>
              <a:off x="5941129"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4" name="Oval 313">
              <a:extLst>
                <a:ext uri="{FF2B5EF4-FFF2-40B4-BE49-F238E27FC236}">
                  <a16:creationId xmlns:a16="http://schemas.microsoft.com/office/drawing/2014/main" id="{338F4D8A-28CB-7E40-9217-301269518D74}"/>
                </a:ext>
              </a:extLst>
            </p:cNvPr>
            <p:cNvSpPr/>
            <p:nvPr/>
          </p:nvSpPr>
          <p:spPr>
            <a:xfrm>
              <a:off x="4395737"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5" name="Oval 314">
              <a:extLst>
                <a:ext uri="{FF2B5EF4-FFF2-40B4-BE49-F238E27FC236}">
                  <a16:creationId xmlns:a16="http://schemas.microsoft.com/office/drawing/2014/main" id="{024FBE33-EB9D-A642-8974-FCA3C835B1AB}"/>
                </a:ext>
              </a:extLst>
            </p:cNvPr>
            <p:cNvSpPr/>
            <p:nvPr/>
          </p:nvSpPr>
          <p:spPr>
            <a:xfrm>
              <a:off x="453033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6" name="Oval 315">
              <a:extLst>
                <a:ext uri="{FF2B5EF4-FFF2-40B4-BE49-F238E27FC236}">
                  <a16:creationId xmlns:a16="http://schemas.microsoft.com/office/drawing/2014/main" id="{3DDC6E51-8FF0-5B49-AA35-87DE904E51C3}"/>
                </a:ext>
              </a:extLst>
            </p:cNvPr>
            <p:cNvSpPr/>
            <p:nvPr/>
          </p:nvSpPr>
          <p:spPr>
            <a:xfrm>
              <a:off x="466492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7" name="Oval 316">
              <a:extLst>
                <a:ext uri="{FF2B5EF4-FFF2-40B4-BE49-F238E27FC236}">
                  <a16:creationId xmlns:a16="http://schemas.microsoft.com/office/drawing/2014/main" id="{6F2DBF03-8561-994F-B492-A6A5C00B1C54}"/>
                </a:ext>
              </a:extLst>
            </p:cNvPr>
            <p:cNvSpPr/>
            <p:nvPr/>
          </p:nvSpPr>
          <p:spPr>
            <a:xfrm>
              <a:off x="4799516"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8" name="Oval 317">
              <a:extLst>
                <a:ext uri="{FF2B5EF4-FFF2-40B4-BE49-F238E27FC236}">
                  <a16:creationId xmlns:a16="http://schemas.microsoft.com/office/drawing/2014/main" id="{F4962816-598A-484D-A5A2-3433C599FEEA}"/>
                </a:ext>
              </a:extLst>
            </p:cNvPr>
            <p:cNvSpPr/>
            <p:nvPr/>
          </p:nvSpPr>
          <p:spPr>
            <a:xfrm>
              <a:off x="493260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9" name="Oval 318">
              <a:extLst>
                <a:ext uri="{FF2B5EF4-FFF2-40B4-BE49-F238E27FC236}">
                  <a16:creationId xmlns:a16="http://schemas.microsoft.com/office/drawing/2014/main" id="{0AB2DB24-4EAE-3A44-B26E-2FCAB18516BA}"/>
                </a:ext>
              </a:extLst>
            </p:cNvPr>
            <p:cNvSpPr/>
            <p:nvPr/>
          </p:nvSpPr>
          <p:spPr>
            <a:xfrm>
              <a:off x="506719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0" name="Oval 319">
              <a:extLst>
                <a:ext uri="{FF2B5EF4-FFF2-40B4-BE49-F238E27FC236}">
                  <a16:creationId xmlns:a16="http://schemas.microsoft.com/office/drawing/2014/main" id="{1BBB1D61-934D-AD41-AE87-6ABDBC73A089}"/>
                </a:ext>
              </a:extLst>
            </p:cNvPr>
            <p:cNvSpPr/>
            <p:nvPr/>
          </p:nvSpPr>
          <p:spPr>
            <a:xfrm>
              <a:off x="520178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1" name="Oval 320">
              <a:extLst>
                <a:ext uri="{FF2B5EF4-FFF2-40B4-BE49-F238E27FC236}">
                  <a16:creationId xmlns:a16="http://schemas.microsoft.com/office/drawing/2014/main" id="{267EB30A-41A3-AC45-BECD-D0825BE5E475}"/>
                </a:ext>
              </a:extLst>
            </p:cNvPr>
            <p:cNvSpPr/>
            <p:nvPr/>
          </p:nvSpPr>
          <p:spPr>
            <a:xfrm>
              <a:off x="5336380"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2" name="Oval 321">
              <a:extLst>
                <a:ext uri="{FF2B5EF4-FFF2-40B4-BE49-F238E27FC236}">
                  <a16:creationId xmlns:a16="http://schemas.microsoft.com/office/drawing/2014/main" id="{363F2A5F-FC78-2E44-9E4F-6696DDB31F33}"/>
                </a:ext>
              </a:extLst>
            </p:cNvPr>
            <p:cNvSpPr/>
            <p:nvPr/>
          </p:nvSpPr>
          <p:spPr>
            <a:xfrm>
              <a:off x="546946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3" name="Oval 322">
              <a:extLst>
                <a:ext uri="{FF2B5EF4-FFF2-40B4-BE49-F238E27FC236}">
                  <a16:creationId xmlns:a16="http://schemas.microsoft.com/office/drawing/2014/main" id="{A58BAF7A-A608-F64A-8C18-302121C6143D}"/>
                </a:ext>
              </a:extLst>
            </p:cNvPr>
            <p:cNvSpPr/>
            <p:nvPr/>
          </p:nvSpPr>
          <p:spPr>
            <a:xfrm>
              <a:off x="5604057"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4" name="Oval 323">
              <a:extLst>
                <a:ext uri="{FF2B5EF4-FFF2-40B4-BE49-F238E27FC236}">
                  <a16:creationId xmlns:a16="http://schemas.microsoft.com/office/drawing/2014/main" id="{77BD7B79-6A68-A14C-B705-63C40D24EE02}"/>
                </a:ext>
              </a:extLst>
            </p:cNvPr>
            <p:cNvSpPr/>
            <p:nvPr/>
          </p:nvSpPr>
          <p:spPr>
            <a:xfrm>
              <a:off x="573865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5" name="Oval 324">
              <a:extLst>
                <a:ext uri="{FF2B5EF4-FFF2-40B4-BE49-F238E27FC236}">
                  <a16:creationId xmlns:a16="http://schemas.microsoft.com/office/drawing/2014/main" id="{F0E8A1C7-B683-294F-A928-588A1D472E39}"/>
                </a:ext>
              </a:extLst>
            </p:cNvPr>
            <p:cNvSpPr/>
            <p:nvPr/>
          </p:nvSpPr>
          <p:spPr>
            <a:xfrm>
              <a:off x="5873243"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6" name="Group 325">
              <a:extLst>
                <a:ext uri="{FF2B5EF4-FFF2-40B4-BE49-F238E27FC236}">
                  <a16:creationId xmlns:a16="http://schemas.microsoft.com/office/drawing/2014/main" id="{A797B7BD-E78E-A847-B854-DE02670404A4}"/>
                </a:ext>
              </a:extLst>
            </p:cNvPr>
            <p:cNvGrpSpPr/>
            <p:nvPr/>
          </p:nvGrpSpPr>
          <p:grpSpPr>
            <a:xfrm>
              <a:off x="4332005" y="3816499"/>
              <a:ext cx="1746284" cy="137160"/>
              <a:chOff x="3571766" y="4314266"/>
              <a:chExt cx="1746284" cy="137160"/>
            </a:xfrm>
          </p:grpSpPr>
          <p:sp>
            <p:nvSpPr>
              <p:cNvPr id="374" name="Oval 373">
                <a:extLst>
                  <a:ext uri="{FF2B5EF4-FFF2-40B4-BE49-F238E27FC236}">
                    <a16:creationId xmlns:a16="http://schemas.microsoft.com/office/drawing/2014/main" id="{71D61B68-3BE9-5A47-9D47-72814F29295B}"/>
                  </a:ext>
                </a:extLst>
              </p:cNvPr>
              <p:cNvSpPr/>
              <p:nvPr/>
            </p:nvSpPr>
            <p:spPr>
              <a:xfrm>
                <a:off x="3571766"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5" name="Oval 374">
                <a:extLst>
                  <a:ext uri="{FF2B5EF4-FFF2-40B4-BE49-F238E27FC236}">
                    <a16:creationId xmlns:a16="http://schemas.microsoft.com/office/drawing/2014/main" id="{465C16D9-5401-EE4D-84E7-59670F8CCE9D}"/>
                  </a:ext>
                </a:extLst>
              </p:cNvPr>
              <p:cNvSpPr/>
              <p:nvPr/>
            </p:nvSpPr>
            <p:spPr>
              <a:xfrm>
                <a:off x="3706359"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6" name="Oval 375">
                <a:extLst>
                  <a:ext uri="{FF2B5EF4-FFF2-40B4-BE49-F238E27FC236}">
                    <a16:creationId xmlns:a16="http://schemas.microsoft.com/office/drawing/2014/main" id="{F7EF9D27-47E9-884C-8D1E-D8E98C91EEC5}"/>
                  </a:ext>
                </a:extLst>
              </p:cNvPr>
              <p:cNvSpPr/>
              <p:nvPr/>
            </p:nvSpPr>
            <p:spPr>
              <a:xfrm>
                <a:off x="3840952"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7" name="Oval 376">
                <a:extLst>
                  <a:ext uri="{FF2B5EF4-FFF2-40B4-BE49-F238E27FC236}">
                    <a16:creationId xmlns:a16="http://schemas.microsoft.com/office/drawing/2014/main" id="{4EA6732D-2EFC-164A-B422-2117BFF1BF6A}"/>
                  </a:ext>
                </a:extLst>
              </p:cNvPr>
              <p:cNvSpPr/>
              <p:nvPr/>
            </p:nvSpPr>
            <p:spPr>
              <a:xfrm>
                <a:off x="3975545"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8" name="Oval 377">
                <a:extLst>
                  <a:ext uri="{FF2B5EF4-FFF2-40B4-BE49-F238E27FC236}">
                    <a16:creationId xmlns:a16="http://schemas.microsoft.com/office/drawing/2014/main" id="{3DCED268-7EB1-0A46-BF0B-7EE184332D5F}"/>
                  </a:ext>
                </a:extLst>
              </p:cNvPr>
              <p:cNvSpPr/>
              <p:nvPr/>
            </p:nvSpPr>
            <p:spPr>
              <a:xfrm>
                <a:off x="4108630"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9" name="Oval 378">
                <a:extLst>
                  <a:ext uri="{FF2B5EF4-FFF2-40B4-BE49-F238E27FC236}">
                    <a16:creationId xmlns:a16="http://schemas.microsoft.com/office/drawing/2014/main" id="{3645DC89-627A-174B-B300-5CCEEE9B9CC4}"/>
                  </a:ext>
                </a:extLst>
              </p:cNvPr>
              <p:cNvSpPr/>
              <p:nvPr/>
            </p:nvSpPr>
            <p:spPr>
              <a:xfrm>
                <a:off x="4243223"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0" name="Oval 379">
                <a:extLst>
                  <a:ext uri="{FF2B5EF4-FFF2-40B4-BE49-F238E27FC236}">
                    <a16:creationId xmlns:a16="http://schemas.microsoft.com/office/drawing/2014/main" id="{11099DBF-F3F8-DC48-9F82-8DD36C6FACB7}"/>
                  </a:ext>
                </a:extLst>
              </p:cNvPr>
              <p:cNvSpPr/>
              <p:nvPr/>
            </p:nvSpPr>
            <p:spPr>
              <a:xfrm>
                <a:off x="437781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1" name="Oval 380">
                <a:extLst>
                  <a:ext uri="{FF2B5EF4-FFF2-40B4-BE49-F238E27FC236}">
                    <a16:creationId xmlns:a16="http://schemas.microsoft.com/office/drawing/2014/main" id="{DF0E0BED-57C1-704C-9009-30A5FE4D7BAD}"/>
                  </a:ext>
                </a:extLst>
              </p:cNvPr>
              <p:cNvSpPr/>
              <p:nvPr/>
            </p:nvSpPr>
            <p:spPr>
              <a:xfrm>
                <a:off x="4512409"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2" name="Oval 381">
                <a:extLst>
                  <a:ext uri="{FF2B5EF4-FFF2-40B4-BE49-F238E27FC236}">
                    <a16:creationId xmlns:a16="http://schemas.microsoft.com/office/drawing/2014/main" id="{72ED60C0-A66A-2647-BE7D-837797D641A7}"/>
                  </a:ext>
                </a:extLst>
              </p:cNvPr>
              <p:cNvSpPr/>
              <p:nvPr/>
            </p:nvSpPr>
            <p:spPr>
              <a:xfrm>
                <a:off x="4645493"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3" name="Oval 382">
                <a:extLst>
                  <a:ext uri="{FF2B5EF4-FFF2-40B4-BE49-F238E27FC236}">
                    <a16:creationId xmlns:a16="http://schemas.microsoft.com/office/drawing/2014/main" id="{BC53B134-E7C2-534B-8275-E9429BFA4073}"/>
                  </a:ext>
                </a:extLst>
              </p:cNvPr>
              <p:cNvSpPr/>
              <p:nvPr/>
            </p:nvSpPr>
            <p:spPr>
              <a:xfrm>
                <a:off x="478008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4" name="Oval 383">
                <a:extLst>
                  <a:ext uri="{FF2B5EF4-FFF2-40B4-BE49-F238E27FC236}">
                    <a16:creationId xmlns:a16="http://schemas.microsoft.com/office/drawing/2014/main" id="{175F9AE4-84D5-EB4C-B945-6A51654BBD5D}"/>
                  </a:ext>
                </a:extLst>
              </p:cNvPr>
              <p:cNvSpPr/>
              <p:nvPr/>
            </p:nvSpPr>
            <p:spPr>
              <a:xfrm>
                <a:off x="4914679"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5" name="Oval 384">
                <a:extLst>
                  <a:ext uri="{FF2B5EF4-FFF2-40B4-BE49-F238E27FC236}">
                    <a16:creationId xmlns:a16="http://schemas.microsoft.com/office/drawing/2014/main" id="{6379D038-8CF7-164D-A907-66219B9B46FC}"/>
                  </a:ext>
                </a:extLst>
              </p:cNvPr>
              <p:cNvSpPr/>
              <p:nvPr/>
            </p:nvSpPr>
            <p:spPr>
              <a:xfrm>
                <a:off x="5049272"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6" name="Oval 385">
                <a:extLst>
                  <a:ext uri="{FF2B5EF4-FFF2-40B4-BE49-F238E27FC236}">
                    <a16:creationId xmlns:a16="http://schemas.microsoft.com/office/drawing/2014/main" id="{D355475F-36DD-E34B-8951-15A1EF74719D}"/>
                  </a:ext>
                </a:extLst>
              </p:cNvPr>
              <p:cNvSpPr/>
              <p:nvPr/>
            </p:nvSpPr>
            <p:spPr>
              <a:xfrm>
                <a:off x="5180890"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27" name="Oval 326">
              <a:extLst>
                <a:ext uri="{FF2B5EF4-FFF2-40B4-BE49-F238E27FC236}">
                  <a16:creationId xmlns:a16="http://schemas.microsoft.com/office/drawing/2014/main" id="{FF3C33A7-C239-4944-BCDA-1DA1D6AE00A9}"/>
                </a:ext>
              </a:extLst>
            </p:cNvPr>
            <p:cNvSpPr/>
            <p:nvPr/>
          </p:nvSpPr>
          <p:spPr>
            <a:xfrm>
              <a:off x="4395737"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8" name="Oval 327">
              <a:extLst>
                <a:ext uri="{FF2B5EF4-FFF2-40B4-BE49-F238E27FC236}">
                  <a16:creationId xmlns:a16="http://schemas.microsoft.com/office/drawing/2014/main" id="{D94E6E3E-7399-D542-9376-51E1AC314792}"/>
                </a:ext>
              </a:extLst>
            </p:cNvPr>
            <p:cNvSpPr/>
            <p:nvPr/>
          </p:nvSpPr>
          <p:spPr>
            <a:xfrm>
              <a:off x="453033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9" name="Oval 328">
              <a:extLst>
                <a:ext uri="{FF2B5EF4-FFF2-40B4-BE49-F238E27FC236}">
                  <a16:creationId xmlns:a16="http://schemas.microsoft.com/office/drawing/2014/main" id="{9DC1BB92-39D8-F345-857B-831AA9F86A78}"/>
                </a:ext>
              </a:extLst>
            </p:cNvPr>
            <p:cNvSpPr/>
            <p:nvPr/>
          </p:nvSpPr>
          <p:spPr>
            <a:xfrm>
              <a:off x="4664923"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0" name="Oval 329">
              <a:extLst>
                <a:ext uri="{FF2B5EF4-FFF2-40B4-BE49-F238E27FC236}">
                  <a16:creationId xmlns:a16="http://schemas.microsoft.com/office/drawing/2014/main" id="{95995248-255D-B64B-955E-27FFF84E46A0}"/>
                </a:ext>
              </a:extLst>
            </p:cNvPr>
            <p:cNvSpPr/>
            <p:nvPr/>
          </p:nvSpPr>
          <p:spPr>
            <a:xfrm>
              <a:off x="4799516"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1" name="Oval 330">
              <a:extLst>
                <a:ext uri="{FF2B5EF4-FFF2-40B4-BE49-F238E27FC236}">
                  <a16:creationId xmlns:a16="http://schemas.microsoft.com/office/drawing/2014/main" id="{66B3ED3D-614F-C34A-B387-F88235C813B5}"/>
                </a:ext>
              </a:extLst>
            </p:cNvPr>
            <p:cNvSpPr/>
            <p:nvPr/>
          </p:nvSpPr>
          <p:spPr>
            <a:xfrm>
              <a:off x="493260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2" name="Oval 331">
              <a:extLst>
                <a:ext uri="{FF2B5EF4-FFF2-40B4-BE49-F238E27FC236}">
                  <a16:creationId xmlns:a16="http://schemas.microsoft.com/office/drawing/2014/main" id="{BAD0725E-10CA-F244-B82F-34E8A1D33072}"/>
                </a:ext>
              </a:extLst>
            </p:cNvPr>
            <p:cNvSpPr/>
            <p:nvPr/>
          </p:nvSpPr>
          <p:spPr>
            <a:xfrm>
              <a:off x="506719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3" name="Oval 332">
              <a:extLst>
                <a:ext uri="{FF2B5EF4-FFF2-40B4-BE49-F238E27FC236}">
                  <a16:creationId xmlns:a16="http://schemas.microsoft.com/office/drawing/2014/main" id="{9853CBCF-27D7-0844-87D1-6D306F5D5719}"/>
                </a:ext>
              </a:extLst>
            </p:cNvPr>
            <p:cNvSpPr/>
            <p:nvPr/>
          </p:nvSpPr>
          <p:spPr>
            <a:xfrm>
              <a:off x="520178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4" name="Oval 333">
              <a:extLst>
                <a:ext uri="{FF2B5EF4-FFF2-40B4-BE49-F238E27FC236}">
                  <a16:creationId xmlns:a16="http://schemas.microsoft.com/office/drawing/2014/main" id="{567C4C3D-1F88-0642-95AC-089FA60D5899}"/>
                </a:ext>
              </a:extLst>
            </p:cNvPr>
            <p:cNvSpPr/>
            <p:nvPr/>
          </p:nvSpPr>
          <p:spPr>
            <a:xfrm>
              <a:off x="533638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5" name="Oval 334">
              <a:extLst>
                <a:ext uri="{FF2B5EF4-FFF2-40B4-BE49-F238E27FC236}">
                  <a16:creationId xmlns:a16="http://schemas.microsoft.com/office/drawing/2014/main" id="{A17FE906-3F3B-9346-8DBC-13CE2A2CA059}"/>
                </a:ext>
              </a:extLst>
            </p:cNvPr>
            <p:cNvSpPr/>
            <p:nvPr/>
          </p:nvSpPr>
          <p:spPr>
            <a:xfrm>
              <a:off x="546946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6" name="Oval 335">
              <a:extLst>
                <a:ext uri="{FF2B5EF4-FFF2-40B4-BE49-F238E27FC236}">
                  <a16:creationId xmlns:a16="http://schemas.microsoft.com/office/drawing/2014/main" id="{59C64CC9-A639-2349-A73F-FAF6A390C4AF}"/>
                </a:ext>
              </a:extLst>
            </p:cNvPr>
            <p:cNvSpPr/>
            <p:nvPr/>
          </p:nvSpPr>
          <p:spPr>
            <a:xfrm>
              <a:off x="560405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7" name="Oval 336">
              <a:extLst>
                <a:ext uri="{FF2B5EF4-FFF2-40B4-BE49-F238E27FC236}">
                  <a16:creationId xmlns:a16="http://schemas.microsoft.com/office/drawing/2014/main" id="{9A74A454-485E-ED40-9752-4F61BA2D9820}"/>
                </a:ext>
              </a:extLst>
            </p:cNvPr>
            <p:cNvSpPr/>
            <p:nvPr/>
          </p:nvSpPr>
          <p:spPr>
            <a:xfrm>
              <a:off x="573865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8" name="Oval 337">
              <a:extLst>
                <a:ext uri="{FF2B5EF4-FFF2-40B4-BE49-F238E27FC236}">
                  <a16:creationId xmlns:a16="http://schemas.microsoft.com/office/drawing/2014/main" id="{42564F1C-19D6-DB43-9EB0-7FDB94FDB896}"/>
                </a:ext>
              </a:extLst>
            </p:cNvPr>
            <p:cNvSpPr/>
            <p:nvPr/>
          </p:nvSpPr>
          <p:spPr>
            <a:xfrm>
              <a:off x="587324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39" name="Group 338">
              <a:extLst>
                <a:ext uri="{FF2B5EF4-FFF2-40B4-BE49-F238E27FC236}">
                  <a16:creationId xmlns:a16="http://schemas.microsoft.com/office/drawing/2014/main" id="{29009D81-A172-0C4B-9F7C-A73AE52BD42B}"/>
                </a:ext>
              </a:extLst>
            </p:cNvPr>
            <p:cNvGrpSpPr/>
            <p:nvPr/>
          </p:nvGrpSpPr>
          <p:grpSpPr>
            <a:xfrm>
              <a:off x="4332005" y="3586511"/>
              <a:ext cx="1746284" cy="137160"/>
              <a:chOff x="3571766" y="4084278"/>
              <a:chExt cx="1746284" cy="137160"/>
            </a:xfrm>
          </p:grpSpPr>
          <p:sp>
            <p:nvSpPr>
              <p:cNvPr id="361" name="Oval 360">
                <a:extLst>
                  <a:ext uri="{FF2B5EF4-FFF2-40B4-BE49-F238E27FC236}">
                    <a16:creationId xmlns:a16="http://schemas.microsoft.com/office/drawing/2014/main" id="{45E4232E-0776-AF40-9D49-6A9308A76CF0}"/>
                  </a:ext>
                </a:extLst>
              </p:cNvPr>
              <p:cNvSpPr/>
              <p:nvPr/>
            </p:nvSpPr>
            <p:spPr>
              <a:xfrm>
                <a:off x="357176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2" name="Oval 361">
                <a:extLst>
                  <a:ext uri="{FF2B5EF4-FFF2-40B4-BE49-F238E27FC236}">
                    <a16:creationId xmlns:a16="http://schemas.microsoft.com/office/drawing/2014/main" id="{8DFC9ACC-4873-B74E-A39B-3F1B904D2F99}"/>
                  </a:ext>
                </a:extLst>
              </p:cNvPr>
              <p:cNvSpPr/>
              <p:nvPr/>
            </p:nvSpPr>
            <p:spPr>
              <a:xfrm>
                <a:off x="3706359"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3" name="Oval 362">
                <a:extLst>
                  <a:ext uri="{FF2B5EF4-FFF2-40B4-BE49-F238E27FC236}">
                    <a16:creationId xmlns:a16="http://schemas.microsoft.com/office/drawing/2014/main" id="{FB1DE02F-F572-CE4C-B1AC-21D45BF9D84E}"/>
                  </a:ext>
                </a:extLst>
              </p:cNvPr>
              <p:cNvSpPr/>
              <p:nvPr/>
            </p:nvSpPr>
            <p:spPr>
              <a:xfrm>
                <a:off x="3840952"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4" name="Oval 363">
                <a:extLst>
                  <a:ext uri="{FF2B5EF4-FFF2-40B4-BE49-F238E27FC236}">
                    <a16:creationId xmlns:a16="http://schemas.microsoft.com/office/drawing/2014/main" id="{005C0C22-1CA7-2C47-80F9-8D822C18D22B}"/>
                  </a:ext>
                </a:extLst>
              </p:cNvPr>
              <p:cNvSpPr/>
              <p:nvPr/>
            </p:nvSpPr>
            <p:spPr>
              <a:xfrm>
                <a:off x="3975545"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5" name="Oval 364">
                <a:extLst>
                  <a:ext uri="{FF2B5EF4-FFF2-40B4-BE49-F238E27FC236}">
                    <a16:creationId xmlns:a16="http://schemas.microsoft.com/office/drawing/2014/main" id="{658E0679-991E-7E4C-B6B7-1FD8F1E74DB3}"/>
                  </a:ext>
                </a:extLst>
              </p:cNvPr>
              <p:cNvSpPr/>
              <p:nvPr/>
            </p:nvSpPr>
            <p:spPr>
              <a:xfrm>
                <a:off x="410863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6" name="Oval 365">
                <a:extLst>
                  <a:ext uri="{FF2B5EF4-FFF2-40B4-BE49-F238E27FC236}">
                    <a16:creationId xmlns:a16="http://schemas.microsoft.com/office/drawing/2014/main" id="{47F375B2-C4CF-6646-8668-D1031A4E54DC}"/>
                  </a:ext>
                </a:extLst>
              </p:cNvPr>
              <p:cNvSpPr/>
              <p:nvPr/>
            </p:nvSpPr>
            <p:spPr>
              <a:xfrm>
                <a:off x="4243223"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7" name="Oval 366">
                <a:extLst>
                  <a:ext uri="{FF2B5EF4-FFF2-40B4-BE49-F238E27FC236}">
                    <a16:creationId xmlns:a16="http://schemas.microsoft.com/office/drawing/2014/main" id="{1A9EB7F0-743C-A247-8848-5ED58C482FD2}"/>
                  </a:ext>
                </a:extLst>
              </p:cNvPr>
              <p:cNvSpPr/>
              <p:nvPr/>
            </p:nvSpPr>
            <p:spPr>
              <a:xfrm>
                <a:off x="437781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8" name="Oval 367">
                <a:extLst>
                  <a:ext uri="{FF2B5EF4-FFF2-40B4-BE49-F238E27FC236}">
                    <a16:creationId xmlns:a16="http://schemas.microsoft.com/office/drawing/2014/main" id="{9CBC7EAA-5215-9746-9F43-FFA49BF54569}"/>
                  </a:ext>
                </a:extLst>
              </p:cNvPr>
              <p:cNvSpPr/>
              <p:nvPr/>
            </p:nvSpPr>
            <p:spPr>
              <a:xfrm>
                <a:off x="4512409"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9" name="Oval 368">
                <a:extLst>
                  <a:ext uri="{FF2B5EF4-FFF2-40B4-BE49-F238E27FC236}">
                    <a16:creationId xmlns:a16="http://schemas.microsoft.com/office/drawing/2014/main" id="{339377FD-68B3-A045-8D84-FC8F651AA1CD}"/>
                  </a:ext>
                </a:extLst>
              </p:cNvPr>
              <p:cNvSpPr/>
              <p:nvPr/>
            </p:nvSpPr>
            <p:spPr>
              <a:xfrm>
                <a:off x="4645493"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0" name="Oval 369">
                <a:extLst>
                  <a:ext uri="{FF2B5EF4-FFF2-40B4-BE49-F238E27FC236}">
                    <a16:creationId xmlns:a16="http://schemas.microsoft.com/office/drawing/2014/main" id="{6C2EEF37-4B27-AA40-9451-1D7482CF5DCD}"/>
                  </a:ext>
                </a:extLst>
              </p:cNvPr>
              <p:cNvSpPr/>
              <p:nvPr/>
            </p:nvSpPr>
            <p:spPr>
              <a:xfrm>
                <a:off x="4780086"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1" name="Oval 370">
                <a:extLst>
                  <a:ext uri="{FF2B5EF4-FFF2-40B4-BE49-F238E27FC236}">
                    <a16:creationId xmlns:a16="http://schemas.microsoft.com/office/drawing/2014/main" id="{82CE55F2-B528-A748-A60A-E76100C76DBA}"/>
                  </a:ext>
                </a:extLst>
              </p:cNvPr>
              <p:cNvSpPr/>
              <p:nvPr/>
            </p:nvSpPr>
            <p:spPr>
              <a:xfrm>
                <a:off x="4914679"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2" name="Oval 371">
                <a:extLst>
                  <a:ext uri="{FF2B5EF4-FFF2-40B4-BE49-F238E27FC236}">
                    <a16:creationId xmlns:a16="http://schemas.microsoft.com/office/drawing/2014/main" id="{4F1FC683-1878-4448-8164-DEFD6E812CC4}"/>
                  </a:ext>
                </a:extLst>
              </p:cNvPr>
              <p:cNvSpPr/>
              <p:nvPr/>
            </p:nvSpPr>
            <p:spPr>
              <a:xfrm>
                <a:off x="5049272"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3" name="Oval 372">
                <a:extLst>
                  <a:ext uri="{FF2B5EF4-FFF2-40B4-BE49-F238E27FC236}">
                    <a16:creationId xmlns:a16="http://schemas.microsoft.com/office/drawing/2014/main" id="{24E48206-811D-C64C-A482-1D7F981A109E}"/>
                  </a:ext>
                </a:extLst>
              </p:cNvPr>
              <p:cNvSpPr/>
              <p:nvPr/>
            </p:nvSpPr>
            <p:spPr>
              <a:xfrm>
                <a:off x="518089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40" name="Oval 339">
              <a:extLst>
                <a:ext uri="{FF2B5EF4-FFF2-40B4-BE49-F238E27FC236}">
                  <a16:creationId xmlns:a16="http://schemas.microsoft.com/office/drawing/2014/main" id="{9060DC1E-E575-234E-8EF9-4696F76B4B21}"/>
                </a:ext>
              </a:extLst>
            </p:cNvPr>
            <p:cNvSpPr/>
            <p:nvPr/>
          </p:nvSpPr>
          <p:spPr>
            <a:xfrm>
              <a:off x="446085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1" name="Oval 340">
              <a:extLst>
                <a:ext uri="{FF2B5EF4-FFF2-40B4-BE49-F238E27FC236}">
                  <a16:creationId xmlns:a16="http://schemas.microsoft.com/office/drawing/2014/main" id="{491CD108-EF9D-C24F-9952-299F219014CD}"/>
                </a:ext>
              </a:extLst>
            </p:cNvPr>
            <p:cNvSpPr/>
            <p:nvPr/>
          </p:nvSpPr>
          <p:spPr>
            <a:xfrm>
              <a:off x="459544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2" name="Oval 341">
              <a:extLst>
                <a:ext uri="{FF2B5EF4-FFF2-40B4-BE49-F238E27FC236}">
                  <a16:creationId xmlns:a16="http://schemas.microsoft.com/office/drawing/2014/main" id="{2DDA76CE-A71E-524F-87D2-27F393DDFBC2}"/>
                </a:ext>
              </a:extLst>
            </p:cNvPr>
            <p:cNvSpPr/>
            <p:nvPr/>
          </p:nvSpPr>
          <p:spPr>
            <a:xfrm>
              <a:off x="473004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3" name="Oval 342">
              <a:extLst>
                <a:ext uri="{FF2B5EF4-FFF2-40B4-BE49-F238E27FC236}">
                  <a16:creationId xmlns:a16="http://schemas.microsoft.com/office/drawing/2014/main" id="{BFCFDFFA-BE4D-4141-AB21-98937A946C28}"/>
                </a:ext>
              </a:extLst>
            </p:cNvPr>
            <p:cNvSpPr/>
            <p:nvPr/>
          </p:nvSpPr>
          <p:spPr>
            <a:xfrm>
              <a:off x="4864633"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4" name="Oval 343">
              <a:extLst>
                <a:ext uri="{FF2B5EF4-FFF2-40B4-BE49-F238E27FC236}">
                  <a16:creationId xmlns:a16="http://schemas.microsoft.com/office/drawing/2014/main" id="{59F7A90D-BAA3-3D45-A3EA-A01C5A18896F}"/>
                </a:ext>
              </a:extLst>
            </p:cNvPr>
            <p:cNvSpPr/>
            <p:nvPr/>
          </p:nvSpPr>
          <p:spPr>
            <a:xfrm>
              <a:off x="499771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5" name="Oval 344">
              <a:extLst>
                <a:ext uri="{FF2B5EF4-FFF2-40B4-BE49-F238E27FC236}">
                  <a16:creationId xmlns:a16="http://schemas.microsoft.com/office/drawing/2014/main" id="{8D23119B-8351-5047-A74E-186D60BC878D}"/>
                </a:ext>
              </a:extLst>
            </p:cNvPr>
            <p:cNvSpPr/>
            <p:nvPr/>
          </p:nvSpPr>
          <p:spPr>
            <a:xfrm>
              <a:off x="513231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6" name="Oval 345">
              <a:extLst>
                <a:ext uri="{FF2B5EF4-FFF2-40B4-BE49-F238E27FC236}">
                  <a16:creationId xmlns:a16="http://schemas.microsoft.com/office/drawing/2014/main" id="{A8564178-36A4-124C-BE8B-849E3A1A8621}"/>
                </a:ext>
              </a:extLst>
            </p:cNvPr>
            <p:cNvSpPr/>
            <p:nvPr/>
          </p:nvSpPr>
          <p:spPr>
            <a:xfrm>
              <a:off x="526690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7" name="Oval 346">
              <a:extLst>
                <a:ext uri="{FF2B5EF4-FFF2-40B4-BE49-F238E27FC236}">
                  <a16:creationId xmlns:a16="http://schemas.microsoft.com/office/drawing/2014/main" id="{952FB009-7253-3D40-AD5D-BD928E2EF4B5}"/>
                </a:ext>
              </a:extLst>
            </p:cNvPr>
            <p:cNvSpPr/>
            <p:nvPr/>
          </p:nvSpPr>
          <p:spPr>
            <a:xfrm>
              <a:off x="540149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8" name="Oval 347">
              <a:extLst>
                <a:ext uri="{FF2B5EF4-FFF2-40B4-BE49-F238E27FC236}">
                  <a16:creationId xmlns:a16="http://schemas.microsoft.com/office/drawing/2014/main" id="{B5529CEB-610D-5A47-BB98-CB243381DC8D}"/>
                </a:ext>
              </a:extLst>
            </p:cNvPr>
            <p:cNvSpPr/>
            <p:nvPr/>
          </p:nvSpPr>
          <p:spPr>
            <a:xfrm>
              <a:off x="553458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9" name="Oval 348">
              <a:extLst>
                <a:ext uri="{FF2B5EF4-FFF2-40B4-BE49-F238E27FC236}">
                  <a16:creationId xmlns:a16="http://schemas.microsoft.com/office/drawing/2014/main" id="{223ADDF6-5C3A-4A47-A239-E684F3BD2D33}"/>
                </a:ext>
              </a:extLst>
            </p:cNvPr>
            <p:cNvSpPr/>
            <p:nvPr/>
          </p:nvSpPr>
          <p:spPr>
            <a:xfrm>
              <a:off x="566917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0" name="Oval 349">
              <a:extLst>
                <a:ext uri="{FF2B5EF4-FFF2-40B4-BE49-F238E27FC236}">
                  <a16:creationId xmlns:a16="http://schemas.microsoft.com/office/drawing/2014/main" id="{8C63DA4B-91D1-1D4A-ACDE-075E1F904E02}"/>
                </a:ext>
              </a:extLst>
            </p:cNvPr>
            <p:cNvSpPr/>
            <p:nvPr/>
          </p:nvSpPr>
          <p:spPr>
            <a:xfrm>
              <a:off x="580376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1" name="Oval 350">
              <a:extLst>
                <a:ext uri="{FF2B5EF4-FFF2-40B4-BE49-F238E27FC236}">
                  <a16:creationId xmlns:a16="http://schemas.microsoft.com/office/drawing/2014/main" id="{AD6213C1-7986-6C47-B355-F02A8853DCA2}"/>
                </a:ext>
              </a:extLst>
            </p:cNvPr>
            <p:cNvSpPr/>
            <p:nvPr/>
          </p:nvSpPr>
          <p:spPr>
            <a:xfrm>
              <a:off x="4791000"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2" name="Oval 351">
              <a:extLst>
                <a:ext uri="{FF2B5EF4-FFF2-40B4-BE49-F238E27FC236}">
                  <a16:creationId xmlns:a16="http://schemas.microsoft.com/office/drawing/2014/main" id="{5FE35E0B-CBDA-204D-9D9D-A368C58FA15D}"/>
                </a:ext>
              </a:extLst>
            </p:cNvPr>
            <p:cNvSpPr/>
            <p:nvPr/>
          </p:nvSpPr>
          <p:spPr>
            <a:xfrm>
              <a:off x="4925593"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3" name="Oval 352">
              <a:extLst>
                <a:ext uri="{FF2B5EF4-FFF2-40B4-BE49-F238E27FC236}">
                  <a16:creationId xmlns:a16="http://schemas.microsoft.com/office/drawing/2014/main" id="{CD9B98B6-E663-4049-B331-EE8AE98596C0}"/>
                </a:ext>
              </a:extLst>
            </p:cNvPr>
            <p:cNvSpPr/>
            <p:nvPr/>
          </p:nvSpPr>
          <p:spPr>
            <a:xfrm>
              <a:off x="505867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4" name="Oval 353">
              <a:extLst>
                <a:ext uri="{FF2B5EF4-FFF2-40B4-BE49-F238E27FC236}">
                  <a16:creationId xmlns:a16="http://schemas.microsoft.com/office/drawing/2014/main" id="{92A3E4E7-0865-464C-88AD-CA67B8396CD4}"/>
                </a:ext>
              </a:extLst>
            </p:cNvPr>
            <p:cNvSpPr/>
            <p:nvPr/>
          </p:nvSpPr>
          <p:spPr>
            <a:xfrm>
              <a:off x="5193271"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5" name="Oval 354">
              <a:extLst>
                <a:ext uri="{FF2B5EF4-FFF2-40B4-BE49-F238E27FC236}">
                  <a16:creationId xmlns:a16="http://schemas.microsoft.com/office/drawing/2014/main" id="{C9C973B7-DCAD-7341-9764-2FB408FA43AF}"/>
                </a:ext>
              </a:extLst>
            </p:cNvPr>
            <p:cNvSpPr/>
            <p:nvPr/>
          </p:nvSpPr>
          <p:spPr>
            <a:xfrm>
              <a:off x="5327864"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6" name="Oval 355">
              <a:extLst>
                <a:ext uri="{FF2B5EF4-FFF2-40B4-BE49-F238E27FC236}">
                  <a16:creationId xmlns:a16="http://schemas.microsoft.com/office/drawing/2014/main" id="{B4DF77AA-2D86-2D4E-8FF2-DE00F5B37952}"/>
                </a:ext>
              </a:extLst>
            </p:cNvPr>
            <p:cNvSpPr/>
            <p:nvPr/>
          </p:nvSpPr>
          <p:spPr>
            <a:xfrm>
              <a:off x="546245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7" name="Flowchart: Magnetic Disk 734">
              <a:extLst>
                <a:ext uri="{FF2B5EF4-FFF2-40B4-BE49-F238E27FC236}">
                  <a16:creationId xmlns:a16="http://schemas.microsoft.com/office/drawing/2014/main" id="{0864C41F-F325-AE43-A98C-351470522160}"/>
                </a:ext>
              </a:extLst>
            </p:cNvPr>
            <p:cNvSpPr/>
            <p:nvPr/>
          </p:nvSpPr>
          <p:spPr>
            <a:xfrm>
              <a:off x="4344879" y="2310115"/>
              <a:ext cx="1726080" cy="2488432"/>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58" name="Group 357">
              <a:extLst>
                <a:ext uri="{FF2B5EF4-FFF2-40B4-BE49-F238E27FC236}">
                  <a16:creationId xmlns:a16="http://schemas.microsoft.com/office/drawing/2014/main" id="{5760F6DD-4075-6841-9647-C1C2A87F6568}"/>
                </a:ext>
              </a:extLst>
            </p:cNvPr>
            <p:cNvGrpSpPr/>
            <p:nvPr/>
          </p:nvGrpSpPr>
          <p:grpSpPr>
            <a:xfrm>
              <a:off x="4128959" y="3045794"/>
              <a:ext cx="438912" cy="438912"/>
              <a:chOff x="2909759" y="2905347"/>
              <a:chExt cx="438912" cy="438912"/>
            </a:xfrm>
          </p:grpSpPr>
          <p:sp>
            <p:nvSpPr>
              <p:cNvPr id="359" name="Rectangle 358">
                <a:extLst>
                  <a:ext uri="{FF2B5EF4-FFF2-40B4-BE49-F238E27FC236}">
                    <a16:creationId xmlns:a16="http://schemas.microsoft.com/office/drawing/2014/main" id="{ADDE3B36-085A-A349-8B67-562BCF7DF415}"/>
                  </a:ext>
                </a:extLst>
              </p:cNvPr>
              <p:cNvSpPr/>
              <p:nvPr/>
            </p:nvSpPr>
            <p:spPr>
              <a:xfrm>
                <a:off x="2909759" y="2905347"/>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0" name="Graphic 195">
                <a:extLst>
                  <a:ext uri="{FF2B5EF4-FFF2-40B4-BE49-F238E27FC236}">
                    <a16:creationId xmlns:a16="http://schemas.microsoft.com/office/drawing/2014/main" id="{4D986F3F-0A59-8242-8046-59E29671D25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46335" y="2941923"/>
                <a:ext cx="365760" cy="365760"/>
              </a:xfrm>
              <a:prstGeom prst="rect">
                <a:avLst/>
              </a:prstGeom>
            </p:spPr>
          </p:pic>
        </p:grpSp>
      </p:grpSp>
      <p:grpSp>
        <p:nvGrpSpPr>
          <p:cNvPr id="400" name="Group 399">
            <a:extLst>
              <a:ext uri="{FF2B5EF4-FFF2-40B4-BE49-F238E27FC236}">
                <a16:creationId xmlns:a16="http://schemas.microsoft.com/office/drawing/2014/main" id="{A40E809A-288D-A941-A3D9-7466A7C8C883}"/>
              </a:ext>
            </a:extLst>
          </p:cNvPr>
          <p:cNvGrpSpPr/>
          <p:nvPr/>
        </p:nvGrpSpPr>
        <p:grpSpPr>
          <a:xfrm>
            <a:off x="3770820" y="3873864"/>
            <a:ext cx="1278561" cy="1273447"/>
            <a:chOff x="6982843" y="3284196"/>
            <a:chExt cx="1278561" cy="1273447"/>
          </a:xfrm>
        </p:grpSpPr>
        <p:sp>
          <p:nvSpPr>
            <p:cNvPr id="401" name="Rectangle: Rounded Corners 650">
              <a:extLst>
                <a:ext uri="{FF2B5EF4-FFF2-40B4-BE49-F238E27FC236}">
                  <a16:creationId xmlns:a16="http://schemas.microsoft.com/office/drawing/2014/main" id="{51114155-8366-A54D-8665-3306FD4CD2B6}"/>
                </a:ext>
              </a:extLst>
            </p:cNvPr>
            <p:cNvSpPr/>
            <p:nvPr/>
          </p:nvSpPr>
          <p:spPr>
            <a:xfrm>
              <a:off x="6982843" y="3284196"/>
              <a:ext cx="1278561" cy="1273447"/>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2" name="Picture 401">
              <a:extLst>
                <a:ext uri="{FF2B5EF4-FFF2-40B4-BE49-F238E27FC236}">
                  <a16:creationId xmlns:a16="http://schemas.microsoft.com/office/drawing/2014/main" id="{9AC04DB6-6DDF-BF49-8CB3-557A96785BF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16084" r="16084"/>
            <a:stretch/>
          </p:blipFill>
          <p:spPr>
            <a:xfrm>
              <a:off x="7263817" y="3562613"/>
              <a:ext cx="716613" cy="716613"/>
            </a:xfrm>
            <a:prstGeom prst="ellipse">
              <a:avLst/>
            </a:prstGeom>
          </p:spPr>
        </p:pic>
      </p:grpSp>
      <p:cxnSp>
        <p:nvCxnSpPr>
          <p:cNvPr id="404" name="Straight Arrow Connector 403">
            <a:extLst>
              <a:ext uri="{FF2B5EF4-FFF2-40B4-BE49-F238E27FC236}">
                <a16:creationId xmlns:a16="http://schemas.microsoft.com/office/drawing/2014/main" id="{F0F7C3E8-2C13-3C49-8362-808B7ACA2DD6}"/>
              </a:ext>
            </a:extLst>
          </p:cNvPr>
          <p:cNvCxnSpPr>
            <a:cxnSpLocks/>
          </p:cNvCxnSpPr>
          <p:nvPr/>
        </p:nvCxnSpPr>
        <p:spPr>
          <a:xfrm>
            <a:off x="2666273" y="4514214"/>
            <a:ext cx="978075"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406" name="Group 405">
            <a:extLst>
              <a:ext uri="{FF2B5EF4-FFF2-40B4-BE49-F238E27FC236}">
                <a16:creationId xmlns:a16="http://schemas.microsoft.com/office/drawing/2014/main" id="{78CD2CB0-8484-4641-86F8-DACC70E7E7CA}"/>
              </a:ext>
            </a:extLst>
          </p:cNvPr>
          <p:cNvGrpSpPr/>
          <p:nvPr/>
        </p:nvGrpSpPr>
        <p:grpSpPr>
          <a:xfrm>
            <a:off x="3484166" y="3576613"/>
            <a:ext cx="591862" cy="587828"/>
            <a:chOff x="10257340" y="1680054"/>
            <a:chExt cx="394878" cy="392187"/>
          </a:xfrm>
        </p:grpSpPr>
        <p:sp>
          <p:nvSpPr>
            <p:cNvPr id="407" name="Rectangle 406">
              <a:extLst>
                <a:ext uri="{FF2B5EF4-FFF2-40B4-BE49-F238E27FC236}">
                  <a16:creationId xmlns:a16="http://schemas.microsoft.com/office/drawing/2014/main" id="{467F21CA-A995-8444-A1DD-DEDC3BEC429D}"/>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8" name="Picture 407" descr="Image result for azure functions logo png">
              <a:extLst>
                <a:ext uri="{FF2B5EF4-FFF2-40B4-BE49-F238E27FC236}">
                  <a16:creationId xmlns:a16="http://schemas.microsoft.com/office/drawing/2014/main" id="{F45BB1E1-42F7-D046-B112-41FAF56B6306}"/>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10" name="Straight Arrow Connector 409">
            <a:extLst>
              <a:ext uri="{FF2B5EF4-FFF2-40B4-BE49-F238E27FC236}">
                <a16:creationId xmlns:a16="http://schemas.microsoft.com/office/drawing/2014/main" id="{713F50A5-A504-874C-B130-6805384D69D7}"/>
              </a:ext>
            </a:extLst>
          </p:cNvPr>
          <p:cNvCxnSpPr>
            <a:cxnSpLocks/>
          </p:cNvCxnSpPr>
          <p:nvPr/>
        </p:nvCxnSpPr>
        <p:spPr>
          <a:xfrm>
            <a:off x="5207031" y="4514214"/>
            <a:ext cx="929503"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412" name="Group 411">
            <a:extLst>
              <a:ext uri="{FF2B5EF4-FFF2-40B4-BE49-F238E27FC236}">
                <a16:creationId xmlns:a16="http://schemas.microsoft.com/office/drawing/2014/main" id="{8B2F8A5C-2DE6-9647-94D4-62E4EC1DF44E}"/>
              </a:ext>
            </a:extLst>
          </p:cNvPr>
          <p:cNvGrpSpPr/>
          <p:nvPr/>
        </p:nvGrpSpPr>
        <p:grpSpPr>
          <a:xfrm>
            <a:off x="6067254" y="2855708"/>
            <a:ext cx="1949330" cy="2488432"/>
            <a:chOff x="8952126" y="2310115"/>
            <a:chExt cx="1949330" cy="2488432"/>
          </a:xfrm>
        </p:grpSpPr>
        <p:sp>
          <p:nvSpPr>
            <p:cNvPr id="413" name="Oval 412">
              <a:extLst>
                <a:ext uri="{FF2B5EF4-FFF2-40B4-BE49-F238E27FC236}">
                  <a16:creationId xmlns:a16="http://schemas.microsoft.com/office/drawing/2014/main" id="{142D9DD3-5ADA-7740-BEB3-0FA9A370D035}"/>
                </a:ext>
              </a:extLst>
            </p:cNvPr>
            <p:cNvSpPr/>
            <p:nvPr/>
          </p:nvSpPr>
          <p:spPr>
            <a:xfrm>
              <a:off x="9218904"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4" name="Oval 413">
              <a:extLst>
                <a:ext uri="{FF2B5EF4-FFF2-40B4-BE49-F238E27FC236}">
                  <a16:creationId xmlns:a16="http://schemas.microsoft.com/office/drawing/2014/main" id="{C9DC0A87-6B93-4644-8EAA-D8B63092ABF2}"/>
                </a:ext>
              </a:extLst>
            </p:cNvPr>
            <p:cNvSpPr/>
            <p:nvPr/>
          </p:nvSpPr>
          <p:spPr>
            <a:xfrm>
              <a:off x="935349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5" name="Oval 414">
              <a:extLst>
                <a:ext uri="{FF2B5EF4-FFF2-40B4-BE49-F238E27FC236}">
                  <a16:creationId xmlns:a16="http://schemas.microsoft.com/office/drawing/2014/main" id="{E86243B4-1E55-E942-868A-71F8AAB2D20F}"/>
                </a:ext>
              </a:extLst>
            </p:cNvPr>
            <p:cNvSpPr/>
            <p:nvPr/>
          </p:nvSpPr>
          <p:spPr>
            <a:xfrm>
              <a:off x="9488090"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6" name="Oval 415">
              <a:extLst>
                <a:ext uri="{FF2B5EF4-FFF2-40B4-BE49-F238E27FC236}">
                  <a16:creationId xmlns:a16="http://schemas.microsoft.com/office/drawing/2014/main" id="{C9BE65CD-D5C3-E445-9FD9-E03F76DE29C7}"/>
                </a:ext>
              </a:extLst>
            </p:cNvPr>
            <p:cNvSpPr/>
            <p:nvPr/>
          </p:nvSpPr>
          <p:spPr>
            <a:xfrm>
              <a:off x="962268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7" name="Oval 416">
              <a:extLst>
                <a:ext uri="{FF2B5EF4-FFF2-40B4-BE49-F238E27FC236}">
                  <a16:creationId xmlns:a16="http://schemas.microsoft.com/office/drawing/2014/main" id="{D4F34466-2341-5C4D-805B-852F9C93BB06}"/>
                </a:ext>
              </a:extLst>
            </p:cNvPr>
            <p:cNvSpPr/>
            <p:nvPr/>
          </p:nvSpPr>
          <p:spPr>
            <a:xfrm>
              <a:off x="9755768"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8" name="Oval 417">
              <a:extLst>
                <a:ext uri="{FF2B5EF4-FFF2-40B4-BE49-F238E27FC236}">
                  <a16:creationId xmlns:a16="http://schemas.microsoft.com/office/drawing/2014/main" id="{899146BB-EF9A-314C-A92A-D7663A467142}"/>
                </a:ext>
              </a:extLst>
            </p:cNvPr>
            <p:cNvSpPr/>
            <p:nvPr/>
          </p:nvSpPr>
          <p:spPr>
            <a:xfrm>
              <a:off x="989036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9" name="Oval 418">
              <a:extLst>
                <a:ext uri="{FF2B5EF4-FFF2-40B4-BE49-F238E27FC236}">
                  <a16:creationId xmlns:a16="http://schemas.microsoft.com/office/drawing/2014/main" id="{A14A9C02-B01A-5842-9EE2-C7CB84881D9E}"/>
                </a:ext>
              </a:extLst>
            </p:cNvPr>
            <p:cNvSpPr/>
            <p:nvPr/>
          </p:nvSpPr>
          <p:spPr>
            <a:xfrm>
              <a:off x="1002495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0" name="Oval 419">
              <a:extLst>
                <a:ext uri="{FF2B5EF4-FFF2-40B4-BE49-F238E27FC236}">
                  <a16:creationId xmlns:a16="http://schemas.microsoft.com/office/drawing/2014/main" id="{5895DB85-DFD0-D544-8FC7-638498BC7C50}"/>
                </a:ext>
              </a:extLst>
            </p:cNvPr>
            <p:cNvSpPr/>
            <p:nvPr/>
          </p:nvSpPr>
          <p:spPr>
            <a:xfrm>
              <a:off x="1015954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1" name="Oval 420">
              <a:extLst>
                <a:ext uri="{FF2B5EF4-FFF2-40B4-BE49-F238E27FC236}">
                  <a16:creationId xmlns:a16="http://schemas.microsoft.com/office/drawing/2014/main" id="{278A37C8-A8E1-514A-952D-0E167E0CFC5D}"/>
                </a:ext>
              </a:extLst>
            </p:cNvPr>
            <p:cNvSpPr/>
            <p:nvPr/>
          </p:nvSpPr>
          <p:spPr>
            <a:xfrm>
              <a:off x="10292631"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2" name="Oval 421">
              <a:extLst>
                <a:ext uri="{FF2B5EF4-FFF2-40B4-BE49-F238E27FC236}">
                  <a16:creationId xmlns:a16="http://schemas.microsoft.com/office/drawing/2014/main" id="{E5FD0B4F-E83B-5B4D-A754-A28E796918FB}"/>
                </a:ext>
              </a:extLst>
            </p:cNvPr>
            <p:cNvSpPr/>
            <p:nvPr/>
          </p:nvSpPr>
          <p:spPr>
            <a:xfrm>
              <a:off x="1042722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3" name="Oval 422">
              <a:extLst>
                <a:ext uri="{FF2B5EF4-FFF2-40B4-BE49-F238E27FC236}">
                  <a16:creationId xmlns:a16="http://schemas.microsoft.com/office/drawing/2014/main" id="{FA1E778F-E55E-784B-BC9B-A8115DECBFA9}"/>
                </a:ext>
              </a:extLst>
            </p:cNvPr>
            <p:cNvSpPr/>
            <p:nvPr/>
          </p:nvSpPr>
          <p:spPr>
            <a:xfrm>
              <a:off x="1056181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4" name="Oval 423">
              <a:extLst>
                <a:ext uri="{FF2B5EF4-FFF2-40B4-BE49-F238E27FC236}">
                  <a16:creationId xmlns:a16="http://schemas.microsoft.com/office/drawing/2014/main" id="{8E3E9B4C-5BF2-C544-BA0B-5D71FB337332}"/>
                </a:ext>
              </a:extLst>
            </p:cNvPr>
            <p:cNvSpPr/>
            <p:nvPr/>
          </p:nvSpPr>
          <p:spPr>
            <a:xfrm>
              <a:off x="10696410"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5" name="Oval 424">
              <a:extLst>
                <a:ext uri="{FF2B5EF4-FFF2-40B4-BE49-F238E27FC236}">
                  <a16:creationId xmlns:a16="http://schemas.microsoft.com/office/drawing/2014/main" id="{5E76EAA7-8CF4-074F-9221-A9EE432A625D}"/>
                </a:ext>
              </a:extLst>
            </p:cNvPr>
            <p:cNvSpPr/>
            <p:nvPr/>
          </p:nvSpPr>
          <p:spPr>
            <a:xfrm>
              <a:off x="921890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6" name="Oval 425">
              <a:extLst>
                <a:ext uri="{FF2B5EF4-FFF2-40B4-BE49-F238E27FC236}">
                  <a16:creationId xmlns:a16="http://schemas.microsoft.com/office/drawing/2014/main" id="{807EB2F5-90E1-0B42-91FA-3E156CEDDCA6}"/>
                </a:ext>
              </a:extLst>
            </p:cNvPr>
            <p:cNvSpPr/>
            <p:nvPr/>
          </p:nvSpPr>
          <p:spPr>
            <a:xfrm>
              <a:off x="935349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7" name="Oval 426">
              <a:extLst>
                <a:ext uri="{FF2B5EF4-FFF2-40B4-BE49-F238E27FC236}">
                  <a16:creationId xmlns:a16="http://schemas.microsoft.com/office/drawing/2014/main" id="{3424CE7A-D606-9D43-A8B0-347A45D4542B}"/>
                </a:ext>
              </a:extLst>
            </p:cNvPr>
            <p:cNvSpPr/>
            <p:nvPr/>
          </p:nvSpPr>
          <p:spPr>
            <a:xfrm>
              <a:off x="948809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8" name="Oval 427">
              <a:extLst>
                <a:ext uri="{FF2B5EF4-FFF2-40B4-BE49-F238E27FC236}">
                  <a16:creationId xmlns:a16="http://schemas.microsoft.com/office/drawing/2014/main" id="{F0FF6BF5-DE15-6D4D-8BD9-DF4E3A501124}"/>
                </a:ext>
              </a:extLst>
            </p:cNvPr>
            <p:cNvSpPr/>
            <p:nvPr/>
          </p:nvSpPr>
          <p:spPr>
            <a:xfrm>
              <a:off x="962268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9" name="Oval 428">
              <a:extLst>
                <a:ext uri="{FF2B5EF4-FFF2-40B4-BE49-F238E27FC236}">
                  <a16:creationId xmlns:a16="http://schemas.microsoft.com/office/drawing/2014/main" id="{CEB41D0F-98A8-2540-B464-D667796B2820}"/>
                </a:ext>
              </a:extLst>
            </p:cNvPr>
            <p:cNvSpPr/>
            <p:nvPr/>
          </p:nvSpPr>
          <p:spPr>
            <a:xfrm>
              <a:off x="9755768"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 name="Oval 429">
              <a:extLst>
                <a:ext uri="{FF2B5EF4-FFF2-40B4-BE49-F238E27FC236}">
                  <a16:creationId xmlns:a16="http://schemas.microsoft.com/office/drawing/2014/main" id="{8659770A-6324-1743-8A81-60ACB41A4186}"/>
                </a:ext>
              </a:extLst>
            </p:cNvPr>
            <p:cNvSpPr/>
            <p:nvPr/>
          </p:nvSpPr>
          <p:spPr>
            <a:xfrm>
              <a:off x="9890361"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1" name="Oval 430">
              <a:extLst>
                <a:ext uri="{FF2B5EF4-FFF2-40B4-BE49-F238E27FC236}">
                  <a16:creationId xmlns:a16="http://schemas.microsoft.com/office/drawing/2014/main" id="{AB137374-2B5A-7049-A7F0-F07BD6B2E384}"/>
                </a:ext>
              </a:extLst>
            </p:cNvPr>
            <p:cNvSpPr/>
            <p:nvPr/>
          </p:nvSpPr>
          <p:spPr>
            <a:xfrm>
              <a:off x="10024954"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2" name="Oval 431">
              <a:extLst>
                <a:ext uri="{FF2B5EF4-FFF2-40B4-BE49-F238E27FC236}">
                  <a16:creationId xmlns:a16="http://schemas.microsoft.com/office/drawing/2014/main" id="{6AAF7E45-206B-DE44-8575-AD46E82491F6}"/>
                </a:ext>
              </a:extLst>
            </p:cNvPr>
            <p:cNvSpPr/>
            <p:nvPr/>
          </p:nvSpPr>
          <p:spPr>
            <a:xfrm>
              <a:off x="10159547"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3" name="Oval 432">
              <a:extLst>
                <a:ext uri="{FF2B5EF4-FFF2-40B4-BE49-F238E27FC236}">
                  <a16:creationId xmlns:a16="http://schemas.microsoft.com/office/drawing/2014/main" id="{4133E4D9-A666-B243-959F-BA7912BC9513}"/>
                </a:ext>
              </a:extLst>
            </p:cNvPr>
            <p:cNvSpPr/>
            <p:nvPr/>
          </p:nvSpPr>
          <p:spPr>
            <a:xfrm>
              <a:off x="1029263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4" name="Oval 433">
              <a:extLst>
                <a:ext uri="{FF2B5EF4-FFF2-40B4-BE49-F238E27FC236}">
                  <a16:creationId xmlns:a16="http://schemas.microsoft.com/office/drawing/2014/main" id="{1E0386E3-743D-564F-BA5B-89B37365D008}"/>
                </a:ext>
              </a:extLst>
            </p:cNvPr>
            <p:cNvSpPr/>
            <p:nvPr/>
          </p:nvSpPr>
          <p:spPr>
            <a:xfrm>
              <a:off x="1042722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5" name="Oval 434">
              <a:extLst>
                <a:ext uri="{FF2B5EF4-FFF2-40B4-BE49-F238E27FC236}">
                  <a16:creationId xmlns:a16="http://schemas.microsoft.com/office/drawing/2014/main" id="{D8D6465A-A4FC-9F4F-BE7D-2A68FFB1BAEC}"/>
                </a:ext>
              </a:extLst>
            </p:cNvPr>
            <p:cNvSpPr/>
            <p:nvPr/>
          </p:nvSpPr>
          <p:spPr>
            <a:xfrm>
              <a:off x="1056181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6" name="Oval 435">
              <a:extLst>
                <a:ext uri="{FF2B5EF4-FFF2-40B4-BE49-F238E27FC236}">
                  <a16:creationId xmlns:a16="http://schemas.microsoft.com/office/drawing/2014/main" id="{BB3DC24C-56E6-8B4B-BEA7-DF562912D11E}"/>
                </a:ext>
              </a:extLst>
            </p:cNvPr>
            <p:cNvSpPr/>
            <p:nvPr/>
          </p:nvSpPr>
          <p:spPr>
            <a:xfrm>
              <a:off x="1069641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7" name="Oval 436">
              <a:extLst>
                <a:ext uri="{FF2B5EF4-FFF2-40B4-BE49-F238E27FC236}">
                  <a16:creationId xmlns:a16="http://schemas.microsoft.com/office/drawing/2014/main" id="{5DD3F6D9-A309-A240-ABFC-CBE0A34D83BF}"/>
                </a:ext>
              </a:extLst>
            </p:cNvPr>
            <p:cNvSpPr/>
            <p:nvPr/>
          </p:nvSpPr>
          <p:spPr>
            <a:xfrm>
              <a:off x="915517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8" name="Oval 437">
              <a:extLst>
                <a:ext uri="{FF2B5EF4-FFF2-40B4-BE49-F238E27FC236}">
                  <a16:creationId xmlns:a16="http://schemas.microsoft.com/office/drawing/2014/main" id="{B8362815-EC43-C34C-B8BA-75C8B6CF7149}"/>
                </a:ext>
              </a:extLst>
            </p:cNvPr>
            <p:cNvSpPr/>
            <p:nvPr/>
          </p:nvSpPr>
          <p:spPr>
            <a:xfrm>
              <a:off x="928976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9" name="Oval 438">
              <a:extLst>
                <a:ext uri="{FF2B5EF4-FFF2-40B4-BE49-F238E27FC236}">
                  <a16:creationId xmlns:a16="http://schemas.microsoft.com/office/drawing/2014/main" id="{46FC2946-190A-8A43-9CBE-2E024CDA1985}"/>
                </a:ext>
              </a:extLst>
            </p:cNvPr>
            <p:cNvSpPr/>
            <p:nvPr/>
          </p:nvSpPr>
          <p:spPr>
            <a:xfrm>
              <a:off x="942435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0" name="Oval 439">
              <a:extLst>
                <a:ext uri="{FF2B5EF4-FFF2-40B4-BE49-F238E27FC236}">
                  <a16:creationId xmlns:a16="http://schemas.microsoft.com/office/drawing/2014/main" id="{E6BCF20D-C8DA-7E46-876E-C6288947D40D}"/>
                </a:ext>
              </a:extLst>
            </p:cNvPr>
            <p:cNvSpPr/>
            <p:nvPr/>
          </p:nvSpPr>
          <p:spPr>
            <a:xfrm>
              <a:off x="9558951"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1" name="Oval 440">
              <a:extLst>
                <a:ext uri="{FF2B5EF4-FFF2-40B4-BE49-F238E27FC236}">
                  <a16:creationId xmlns:a16="http://schemas.microsoft.com/office/drawing/2014/main" id="{6380DE5F-6B44-9249-9E73-8A2AD9882FA1}"/>
                </a:ext>
              </a:extLst>
            </p:cNvPr>
            <p:cNvSpPr/>
            <p:nvPr/>
          </p:nvSpPr>
          <p:spPr>
            <a:xfrm>
              <a:off x="969203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2" name="Oval 441">
              <a:extLst>
                <a:ext uri="{FF2B5EF4-FFF2-40B4-BE49-F238E27FC236}">
                  <a16:creationId xmlns:a16="http://schemas.microsoft.com/office/drawing/2014/main" id="{08B9B167-6F58-5D4D-944B-147B8E1341A4}"/>
                </a:ext>
              </a:extLst>
            </p:cNvPr>
            <p:cNvSpPr/>
            <p:nvPr/>
          </p:nvSpPr>
          <p:spPr>
            <a:xfrm>
              <a:off x="982662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3" name="Oval 442">
              <a:extLst>
                <a:ext uri="{FF2B5EF4-FFF2-40B4-BE49-F238E27FC236}">
                  <a16:creationId xmlns:a16="http://schemas.microsoft.com/office/drawing/2014/main" id="{09A4F8F0-7FC2-054F-9EA4-4D54954BBEAD}"/>
                </a:ext>
              </a:extLst>
            </p:cNvPr>
            <p:cNvSpPr/>
            <p:nvPr/>
          </p:nvSpPr>
          <p:spPr>
            <a:xfrm>
              <a:off x="996122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4" name="Oval 443">
              <a:extLst>
                <a:ext uri="{FF2B5EF4-FFF2-40B4-BE49-F238E27FC236}">
                  <a16:creationId xmlns:a16="http://schemas.microsoft.com/office/drawing/2014/main" id="{D68352D5-D536-DA46-81B8-F3C3DE0D1079}"/>
                </a:ext>
              </a:extLst>
            </p:cNvPr>
            <p:cNvSpPr/>
            <p:nvPr/>
          </p:nvSpPr>
          <p:spPr>
            <a:xfrm>
              <a:off x="1009581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5" name="Oval 444">
              <a:extLst>
                <a:ext uri="{FF2B5EF4-FFF2-40B4-BE49-F238E27FC236}">
                  <a16:creationId xmlns:a16="http://schemas.microsoft.com/office/drawing/2014/main" id="{3AFD8050-65C8-0D4F-9E20-AA2A13E96A80}"/>
                </a:ext>
              </a:extLst>
            </p:cNvPr>
            <p:cNvSpPr/>
            <p:nvPr/>
          </p:nvSpPr>
          <p:spPr>
            <a:xfrm>
              <a:off x="1022889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6" name="Oval 445">
              <a:extLst>
                <a:ext uri="{FF2B5EF4-FFF2-40B4-BE49-F238E27FC236}">
                  <a16:creationId xmlns:a16="http://schemas.microsoft.com/office/drawing/2014/main" id="{95D36B77-9555-5D4E-956A-973FE2C18230}"/>
                </a:ext>
              </a:extLst>
            </p:cNvPr>
            <p:cNvSpPr/>
            <p:nvPr/>
          </p:nvSpPr>
          <p:spPr>
            <a:xfrm>
              <a:off x="1036349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7" name="Oval 446">
              <a:extLst>
                <a:ext uri="{FF2B5EF4-FFF2-40B4-BE49-F238E27FC236}">
                  <a16:creationId xmlns:a16="http://schemas.microsoft.com/office/drawing/2014/main" id="{81D1E178-B9D2-C64F-88C9-906C424B19D9}"/>
                </a:ext>
              </a:extLst>
            </p:cNvPr>
            <p:cNvSpPr/>
            <p:nvPr/>
          </p:nvSpPr>
          <p:spPr>
            <a:xfrm>
              <a:off x="1049808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8" name="Oval 447">
              <a:extLst>
                <a:ext uri="{FF2B5EF4-FFF2-40B4-BE49-F238E27FC236}">
                  <a16:creationId xmlns:a16="http://schemas.microsoft.com/office/drawing/2014/main" id="{DA6EEA88-5F67-1749-9E58-2DC491ADDFBF}"/>
                </a:ext>
              </a:extLst>
            </p:cNvPr>
            <p:cNvSpPr/>
            <p:nvPr/>
          </p:nvSpPr>
          <p:spPr>
            <a:xfrm>
              <a:off x="1063267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9" name="Oval 448">
              <a:extLst>
                <a:ext uri="{FF2B5EF4-FFF2-40B4-BE49-F238E27FC236}">
                  <a16:creationId xmlns:a16="http://schemas.microsoft.com/office/drawing/2014/main" id="{AF5C1ACD-63DB-DF49-B1D7-F66245914B8B}"/>
                </a:ext>
              </a:extLst>
            </p:cNvPr>
            <p:cNvSpPr/>
            <p:nvPr/>
          </p:nvSpPr>
          <p:spPr>
            <a:xfrm>
              <a:off x="1076429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0" name="Oval 449">
              <a:extLst>
                <a:ext uri="{FF2B5EF4-FFF2-40B4-BE49-F238E27FC236}">
                  <a16:creationId xmlns:a16="http://schemas.microsoft.com/office/drawing/2014/main" id="{CCA503D2-FA7B-A243-B8AF-49913D3C9D23}"/>
                </a:ext>
              </a:extLst>
            </p:cNvPr>
            <p:cNvSpPr/>
            <p:nvPr/>
          </p:nvSpPr>
          <p:spPr>
            <a:xfrm>
              <a:off x="915517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1" name="Oval 450">
              <a:extLst>
                <a:ext uri="{FF2B5EF4-FFF2-40B4-BE49-F238E27FC236}">
                  <a16:creationId xmlns:a16="http://schemas.microsoft.com/office/drawing/2014/main" id="{3224D128-3E4B-5842-84B4-6D31D232E9DB}"/>
                </a:ext>
              </a:extLst>
            </p:cNvPr>
            <p:cNvSpPr/>
            <p:nvPr/>
          </p:nvSpPr>
          <p:spPr>
            <a:xfrm>
              <a:off x="928976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2" name="Oval 451">
              <a:extLst>
                <a:ext uri="{FF2B5EF4-FFF2-40B4-BE49-F238E27FC236}">
                  <a16:creationId xmlns:a16="http://schemas.microsoft.com/office/drawing/2014/main" id="{56A218DF-49A9-FF47-917B-5BBA30E7A2D1}"/>
                </a:ext>
              </a:extLst>
            </p:cNvPr>
            <p:cNvSpPr/>
            <p:nvPr/>
          </p:nvSpPr>
          <p:spPr>
            <a:xfrm>
              <a:off x="942435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3" name="Oval 452">
              <a:extLst>
                <a:ext uri="{FF2B5EF4-FFF2-40B4-BE49-F238E27FC236}">
                  <a16:creationId xmlns:a16="http://schemas.microsoft.com/office/drawing/2014/main" id="{326945B2-E9BF-404C-B037-5D2BE586DAF1}"/>
                </a:ext>
              </a:extLst>
            </p:cNvPr>
            <p:cNvSpPr/>
            <p:nvPr/>
          </p:nvSpPr>
          <p:spPr>
            <a:xfrm>
              <a:off x="9558951"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4" name="Oval 453">
              <a:extLst>
                <a:ext uri="{FF2B5EF4-FFF2-40B4-BE49-F238E27FC236}">
                  <a16:creationId xmlns:a16="http://schemas.microsoft.com/office/drawing/2014/main" id="{0E204232-3EFD-6D4F-BB45-EBB8EFC23538}"/>
                </a:ext>
              </a:extLst>
            </p:cNvPr>
            <p:cNvSpPr/>
            <p:nvPr/>
          </p:nvSpPr>
          <p:spPr>
            <a:xfrm>
              <a:off x="969203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5" name="Oval 454">
              <a:extLst>
                <a:ext uri="{FF2B5EF4-FFF2-40B4-BE49-F238E27FC236}">
                  <a16:creationId xmlns:a16="http://schemas.microsoft.com/office/drawing/2014/main" id="{A9C5954C-96BE-2240-A461-889A32E43E5E}"/>
                </a:ext>
              </a:extLst>
            </p:cNvPr>
            <p:cNvSpPr/>
            <p:nvPr/>
          </p:nvSpPr>
          <p:spPr>
            <a:xfrm>
              <a:off x="982662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6" name="Oval 455">
              <a:extLst>
                <a:ext uri="{FF2B5EF4-FFF2-40B4-BE49-F238E27FC236}">
                  <a16:creationId xmlns:a16="http://schemas.microsoft.com/office/drawing/2014/main" id="{F713F27C-B3DC-3146-B30C-82FB1DA1840F}"/>
                </a:ext>
              </a:extLst>
            </p:cNvPr>
            <p:cNvSpPr/>
            <p:nvPr/>
          </p:nvSpPr>
          <p:spPr>
            <a:xfrm>
              <a:off x="996122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7" name="Oval 456">
              <a:extLst>
                <a:ext uri="{FF2B5EF4-FFF2-40B4-BE49-F238E27FC236}">
                  <a16:creationId xmlns:a16="http://schemas.microsoft.com/office/drawing/2014/main" id="{62412FB1-E7D6-CB4E-A61F-7DD13CE0CBBE}"/>
                </a:ext>
              </a:extLst>
            </p:cNvPr>
            <p:cNvSpPr/>
            <p:nvPr/>
          </p:nvSpPr>
          <p:spPr>
            <a:xfrm>
              <a:off x="1009581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8" name="Oval 457">
              <a:extLst>
                <a:ext uri="{FF2B5EF4-FFF2-40B4-BE49-F238E27FC236}">
                  <a16:creationId xmlns:a16="http://schemas.microsoft.com/office/drawing/2014/main" id="{7C608CB0-28B0-D54B-AE35-92FEFD5EA8C8}"/>
                </a:ext>
              </a:extLst>
            </p:cNvPr>
            <p:cNvSpPr/>
            <p:nvPr/>
          </p:nvSpPr>
          <p:spPr>
            <a:xfrm>
              <a:off x="1022889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9" name="Oval 458">
              <a:extLst>
                <a:ext uri="{FF2B5EF4-FFF2-40B4-BE49-F238E27FC236}">
                  <a16:creationId xmlns:a16="http://schemas.microsoft.com/office/drawing/2014/main" id="{85ED8DA2-6E75-024E-86F0-C1DCDC879FE3}"/>
                </a:ext>
              </a:extLst>
            </p:cNvPr>
            <p:cNvSpPr/>
            <p:nvPr/>
          </p:nvSpPr>
          <p:spPr>
            <a:xfrm>
              <a:off x="1036349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0" name="Oval 459">
              <a:extLst>
                <a:ext uri="{FF2B5EF4-FFF2-40B4-BE49-F238E27FC236}">
                  <a16:creationId xmlns:a16="http://schemas.microsoft.com/office/drawing/2014/main" id="{3C553FB3-49AF-9341-98C1-DEAC42D17FB9}"/>
                </a:ext>
              </a:extLst>
            </p:cNvPr>
            <p:cNvSpPr/>
            <p:nvPr/>
          </p:nvSpPr>
          <p:spPr>
            <a:xfrm>
              <a:off x="1049808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1" name="Oval 460">
              <a:extLst>
                <a:ext uri="{FF2B5EF4-FFF2-40B4-BE49-F238E27FC236}">
                  <a16:creationId xmlns:a16="http://schemas.microsoft.com/office/drawing/2014/main" id="{125173E0-4DE8-D147-9E0D-1F7EB342FC49}"/>
                </a:ext>
              </a:extLst>
            </p:cNvPr>
            <p:cNvSpPr/>
            <p:nvPr/>
          </p:nvSpPr>
          <p:spPr>
            <a:xfrm>
              <a:off x="1063267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2" name="Oval 461">
              <a:extLst>
                <a:ext uri="{FF2B5EF4-FFF2-40B4-BE49-F238E27FC236}">
                  <a16:creationId xmlns:a16="http://schemas.microsoft.com/office/drawing/2014/main" id="{F9668C20-A4AF-4944-BF59-1AB1D6E26FAD}"/>
                </a:ext>
              </a:extLst>
            </p:cNvPr>
            <p:cNvSpPr/>
            <p:nvPr/>
          </p:nvSpPr>
          <p:spPr>
            <a:xfrm>
              <a:off x="1076429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3" name="Oval 462">
              <a:extLst>
                <a:ext uri="{FF2B5EF4-FFF2-40B4-BE49-F238E27FC236}">
                  <a16:creationId xmlns:a16="http://schemas.microsoft.com/office/drawing/2014/main" id="{ED0C56C5-A4DD-3F46-8955-D82831DB59C7}"/>
                </a:ext>
              </a:extLst>
            </p:cNvPr>
            <p:cNvSpPr/>
            <p:nvPr/>
          </p:nvSpPr>
          <p:spPr>
            <a:xfrm>
              <a:off x="9155172"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4" name="Oval 463">
              <a:extLst>
                <a:ext uri="{FF2B5EF4-FFF2-40B4-BE49-F238E27FC236}">
                  <a16:creationId xmlns:a16="http://schemas.microsoft.com/office/drawing/2014/main" id="{1C682D7A-27D9-A34D-9F46-C552A3526ED8}"/>
                </a:ext>
              </a:extLst>
            </p:cNvPr>
            <p:cNvSpPr/>
            <p:nvPr/>
          </p:nvSpPr>
          <p:spPr>
            <a:xfrm>
              <a:off x="9289765"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5" name="Oval 464">
              <a:extLst>
                <a:ext uri="{FF2B5EF4-FFF2-40B4-BE49-F238E27FC236}">
                  <a16:creationId xmlns:a16="http://schemas.microsoft.com/office/drawing/2014/main" id="{A727CC59-F851-8143-8C63-C50F282CA0B3}"/>
                </a:ext>
              </a:extLst>
            </p:cNvPr>
            <p:cNvSpPr/>
            <p:nvPr/>
          </p:nvSpPr>
          <p:spPr>
            <a:xfrm>
              <a:off x="9424358"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6" name="Oval 465">
              <a:extLst>
                <a:ext uri="{FF2B5EF4-FFF2-40B4-BE49-F238E27FC236}">
                  <a16:creationId xmlns:a16="http://schemas.microsoft.com/office/drawing/2014/main" id="{FBF2A494-62E7-F943-BEE0-1AA760C346BB}"/>
                </a:ext>
              </a:extLst>
            </p:cNvPr>
            <p:cNvSpPr/>
            <p:nvPr/>
          </p:nvSpPr>
          <p:spPr>
            <a:xfrm>
              <a:off x="9558951"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7" name="Oval 466">
              <a:extLst>
                <a:ext uri="{FF2B5EF4-FFF2-40B4-BE49-F238E27FC236}">
                  <a16:creationId xmlns:a16="http://schemas.microsoft.com/office/drawing/2014/main" id="{2CC2CCC2-8A57-8A49-B56F-11341AA3A98A}"/>
                </a:ext>
              </a:extLst>
            </p:cNvPr>
            <p:cNvSpPr/>
            <p:nvPr/>
          </p:nvSpPr>
          <p:spPr>
            <a:xfrm>
              <a:off x="9692036"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8" name="Oval 467">
              <a:extLst>
                <a:ext uri="{FF2B5EF4-FFF2-40B4-BE49-F238E27FC236}">
                  <a16:creationId xmlns:a16="http://schemas.microsoft.com/office/drawing/2014/main" id="{59BCDD4E-09F7-2048-9037-0B5190C49F49}"/>
                </a:ext>
              </a:extLst>
            </p:cNvPr>
            <p:cNvSpPr/>
            <p:nvPr/>
          </p:nvSpPr>
          <p:spPr>
            <a:xfrm>
              <a:off x="9826629"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9" name="Oval 468">
              <a:extLst>
                <a:ext uri="{FF2B5EF4-FFF2-40B4-BE49-F238E27FC236}">
                  <a16:creationId xmlns:a16="http://schemas.microsoft.com/office/drawing/2014/main" id="{EC996CAE-C8BD-5740-AA65-32BBE6AFDEB5}"/>
                </a:ext>
              </a:extLst>
            </p:cNvPr>
            <p:cNvSpPr/>
            <p:nvPr/>
          </p:nvSpPr>
          <p:spPr>
            <a:xfrm>
              <a:off x="996122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0" name="Oval 469">
              <a:extLst>
                <a:ext uri="{FF2B5EF4-FFF2-40B4-BE49-F238E27FC236}">
                  <a16:creationId xmlns:a16="http://schemas.microsoft.com/office/drawing/2014/main" id="{2F255E6B-6F6B-4D43-8AA0-DF3A972CEE3B}"/>
                </a:ext>
              </a:extLst>
            </p:cNvPr>
            <p:cNvSpPr/>
            <p:nvPr/>
          </p:nvSpPr>
          <p:spPr>
            <a:xfrm>
              <a:off x="10095815"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1" name="Oval 470">
              <a:extLst>
                <a:ext uri="{FF2B5EF4-FFF2-40B4-BE49-F238E27FC236}">
                  <a16:creationId xmlns:a16="http://schemas.microsoft.com/office/drawing/2014/main" id="{66BFE28C-4ED6-F143-A8D2-D681078FD2DC}"/>
                </a:ext>
              </a:extLst>
            </p:cNvPr>
            <p:cNvSpPr/>
            <p:nvPr/>
          </p:nvSpPr>
          <p:spPr>
            <a:xfrm>
              <a:off x="10228899"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2" name="Oval 471">
              <a:extLst>
                <a:ext uri="{FF2B5EF4-FFF2-40B4-BE49-F238E27FC236}">
                  <a16:creationId xmlns:a16="http://schemas.microsoft.com/office/drawing/2014/main" id="{7ABEC929-AFEE-8E4C-AB67-0065F6C03452}"/>
                </a:ext>
              </a:extLst>
            </p:cNvPr>
            <p:cNvSpPr/>
            <p:nvPr/>
          </p:nvSpPr>
          <p:spPr>
            <a:xfrm>
              <a:off x="1036349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3" name="Oval 472">
              <a:extLst>
                <a:ext uri="{FF2B5EF4-FFF2-40B4-BE49-F238E27FC236}">
                  <a16:creationId xmlns:a16="http://schemas.microsoft.com/office/drawing/2014/main" id="{EE5308E2-DA74-6042-8162-D4BD517EE97D}"/>
                </a:ext>
              </a:extLst>
            </p:cNvPr>
            <p:cNvSpPr/>
            <p:nvPr/>
          </p:nvSpPr>
          <p:spPr>
            <a:xfrm>
              <a:off x="10498085"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4" name="Oval 473">
              <a:extLst>
                <a:ext uri="{FF2B5EF4-FFF2-40B4-BE49-F238E27FC236}">
                  <a16:creationId xmlns:a16="http://schemas.microsoft.com/office/drawing/2014/main" id="{A64EBE49-B7E2-174F-A4E6-F3BE322D4473}"/>
                </a:ext>
              </a:extLst>
            </p:cNvPr>
            <p:cNvSpPr/>
            <p:nvPr/>
          </p:nvSpPr>
          <p:spPr>
            <a:xfrm>
              <a:off x="10632678"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5" name="Oval 474">
              <a:extLst>
                <a:ext uri="{FF2B5EF4-FFF2-40B4-BE49-F238E27FC236}">
                  <a16:creationId xmlns:a16="http://schemas.microsoft.com/office/drawing/2014/main" id="{CB8170BA-3F27-8346-A151-83ECAA2CC30F}"/>
                </a:ext>
              </a:extLst>
            </p:cNvPr>
            <p:cNvSpPr/>
            <p:nvPr/>
          </p:nvSpPr>
          <p:spPr>
            <a:xfrm>
              <a:off x="10764296"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6" name="Oval 475">
              <a:extLst>
                <a:ext uri="{FF2B5EF4-FFF2-40B4-BE49-F238E27FC236}">
                  <a16:creationId xmlns:a16="http://schemas.microsoft.com/office/drawing/2014/main" id="{E18F1F84-9C4B-3043-9638-6A2FF6BF7108}"/>
                </a:ext>
              </a:extLst>
            </p:cNvPr>
            <p:cNvSpPr/>
            <p:nvPr/>
          </p:nvSpPr>
          <p:spPr>
            <a:xfrm>
              <a:off x="921890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7" name="Oval 476">
              <a:extLst>
                <a:ext uri="{FF2B5EF4-FFF2-40B4-BE49-F238E27FC236}">
                  <a16:creationId xmlns:a16="http://schemas.microsoft.com/office/drawing/2014/main" id="{1494CCCE-DC17-DB40-B311-34B6D66E6412}"/>
                </a:ext>
              </a:extLst>
            </p:cNvPr>
            <p:cNvSpPr/>
            <p:nvPr/>
          </p:nvSpPr>
          <p:spPr>
            <a:xfrm>
              <a:off x="935349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8" name="Oval 477">
              <a:extLst>
                <a:ext uri="{FF2B5EF4-FFF2-40B4-BE49-F238E27FC236}">
                  <a16:creationId xmlns:a16="http://schemas.microsoft.com/office/drawing/2014/main" id="{1F5E1DA5-E54F-F94D-B91E-BC04AFA6F8B4}"/>
                </a:ext>
              </a:extLst>
            </p:cNvPr>
            <p:cNvSpPr/>
            <p:nvPr/>
          </p:nvSpPr>
          <p:spPr>
            <a:xfrm>
              <a:off x="948809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9" name="Oval 478">
              <a:extLst>
                <a:ext uri="{FF2B5EF4-FFF2-40B4-BE49-F238E27FC236}">
                  <a16:creationId xmlns:a16="http://schemas.microsoft.com/office/drawing/2014/main" id="{1A8F378E-260E-BE4D-BCCA-8650F10CAFEA}"/>
                </a:ext>
              </a:extLst>
            </p:cNvPr>
            <p:cNvSpPr/>
            <p:nvPr/>
          </p:nvSpPr>
          <p:spPr>
            <a:xfrm>
              <a:off x="962268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0" name="Oval 479">
              <a:extLst>
                <a:ext uri="{FF2B5EF4-FFF2-40B4-BE49-F238E27FC236}">
                  <a16:creationId xmlns:a16="http://schemas.microsoft.com/office/drawing/2014/main" id="{CF037449-3165-6B4B-83A3-4E905275B15D}"/>
                </a:ext>
              </a:extLst>
            </p:cNvPr>
            <p:cNvSpPr/>
            <p:nvPr/>
          </p:nvSpPr>
          <p:spPr>
            <a:xfrm>
              <a:off x="9755768"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1" name="Oval 480">
              <a:extLst>
                <a:ext uri="{FF2B5EF4-FFF2-40B4-BE49-F238E27FC236}">
                  <a16:creationId xmlns:a16="http://schemas.microsoft.com/office/drawing/2014/main" id="{0A27169B-6AF1-D246-A327-F28E974B5EC2}"/>
                </a:ext>
              </a:extLst>
            </p:cNvPr>
            <p:cNvSpPr/>
            <p:nvPr/>
          </p:nvSpPr>
          <p:spPr>
            <a:xfrm>
              <a:off x="9890361"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2" name="Oval 481">
              <a:extLst>
                <a:ext uri="{FF2B5EF4-FFF2-40B4-BE49-F238E27FC236}">
                  <a16:creationId xmlns:a16="http://schemas.microsoft.com/office/drawing/2014/main" id="{02BD2691-34D5-2740-99D8-1C63E3623C84}"/>
                </a:ext>
              </a:extLst>
            </p:cNvPr>
            <p:cNvSpPr/>
            <p:nvPr/>
          </p:nvSpPr>
          <p:spPr>
            <a:xfrm>
              <a:off x="10024954"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3" name="Oval 482">
              <a:extLst>
                <a:ext uri="{FF2B5EF4-FFF2-40B4-BE49-F238E27FC236}">
                  <a16:creationId xmlns:a16="http://schemas.microsoft.com/office/drawing/2014/main" id="{2A7B0E52-DD25-E54D-85FA-C4D2E890338A}"/>
                </a:ext>
              </a:extLst>
            </p:cNvPr>
            <p:cNvSpPr/>
            <p:nvPr/>
          </p:nvSpPr>
          <p:spPr>
            <a:xfrm>
              <a:off x="1015954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4" name="Oval 483">
              <a:extLst>
                <a:ext uri="{FF2B5EF4-FFF2-40B4-BE49-F238E27FC236}">
                  <a16:creationId xmlns:a16="http://schemas.microsoft.com/office/drawing/2014/main" id="{9E389A39-C967-684C-ADEE-B63E7EA61BF7}"/>
                </a:ext>
              </a:extLst>
            </p:cNvPr>
            <p:cNvSpPr/>
            <p:nvPr/>
          </p:nvSpPr>
          <p:spPr>
            <a:xfrm>
              <a:off x="1029263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5" name="Oval 484">
              <a:extLst>
                <a:ext uri="{FF2B5EF4-FFF2-40B4-BE49-F238E27FC236}">
                  <a16:creationId xmlns:a16="http://schemas.microsoft.com/office/drawing/2014/main" id="{AE6A3572-2524-CF40-8739-9A1005AFC5B2}"/>
                </a:ext>
              </a:extLst>
            </p:cNvPr>
            <p:cNvSpPr/>
            <p:nvPr/>
          </p:nvSpPr>
          <p:spPr>
            <a:xfrm>
              <a:off x="1042722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6" name="Oval 485">
              <a:extLst>
                <a:ext uri="{FF2B5EF4-FFF2-40B4-BE49-F238E27FC236}">
                  <a16:creationId xmlns:a16="http://schemas.microsoft.com/office/drawing/2014/main" id="{63620C0B-18B0-0A4E-8C1E-A57D32822155}"/>
                </a:ext>
              </a:extLst>
            </p:cNvPr>
            <p:cNvSpPr/>
            <p:nvPr/>
          </p:nvSpPr>
          <p:spPr>
            <a:xfrm>
              <a:off x="1056181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7" name="Oval 486">
              <a:extLst>
                <a:ext uri="{FF2B5EF4-FFF2-40B4-BE49-F238E27FC236}">
                  <a16:creationId xmlns:a16="http://schemas.microsoft.com/office/drawing/2014/main" id="{2450BE85-75FF-D248-B735-54009FC9598A}"/>
                </a:ext>
              </a:extLst>
            </p:cNvPr>
            <p:cNvSpPr/>
            <p:nvPr/>
          </p:nvSpPr>
          <p:spPr>
            <a:xfrm>
              <a:off x="1069641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8" name="Oval 487">
              <a:extLst>
                <a:ext uri="{FF2B5EF4-FFF2-40B4-BE49-F238E27FC236}">
                  <a16:creationId xmlns:a16="http://schemas.microsoft.com/office/drawing/2014/main" id="{6837F92B-DAD1-3F4D-B8C0-86B9761E24EF}"/>
                </a:ext>
              </a:extLst>
            </p:cNvPr>
            <p:cNvSpPr/>
            <p:nvPr/>
          </p:nvSpPr>
          <p:spPr>
            <a:xfrm>
              <a:off x="915517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9" name="Oval 488">
              <a:extLst>
                <a:ext uri="{FF2B5EF4-FFF2-40B4-BE49-F238E27FC236}">
                  <a16:creationId xmlns:a16="http://schemas.microsoft.com/office/drawing/2014/main" id="{823276BC-BF4B-8545-B937-D2135D6E9D46}"/>
                </a:ext>
              </a:extLst>
            </p:cNvPr>
            <p:cNvSpPr/>
            <p:nvPr/>
          </p:nvSpPr>
          <p:spPr>
            <a:xfrm>
              <a:off x="9289765"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0" name="Oval 489">
              <a:extLst>
                <a:ext uri="{FF2B5EF4-FFF2-40B4-BE49-F238E27FC236}">
                  <a16:creationId xmlns:a16="http://schemas.microsoft.com/office/drawing/2014/main" id="{8C255BEE-FE03-994E-ACD3-F3C7119EBF99}"/>
                </a:ext>
              </a:extLst>
            </p:cNvPr>
            <p:cNvSpPr/>
            <p:nvPr/>
          </p:nvSpPr>
          <p:spPr>
            <a:xfrm>
              <a:off x="9424358"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1" name="Oval 490">
              <a:extLst>
                <a:ext uri="{FF2B5EF4-FFF2-40B4-BE49-F238E27FC236}">
                  <a16:creationId xmlns:a16="http://schemas.microsoft.com/office/drawing/2014/main" id="{7412EE1B-567F-7542-8CAB-7848FCAD6CCE}"/>
                </a:ext>
              </a:extLst>
            </p:cNvPr>
            <p:cNvSpPr/>
            <p:nvPr/>
          </p:nvSpPr>
          <p:spPr>
            <a:xfrm>
              <a:off x="9558951"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2" name="Oval 491">
              <a:extLst>
                <a:ext uri="{FF2B5EF4-FFF2-40B4-BE49-F238E27FC236}">
                  <a16:creationId xmlns:a16="http://schemas.microsoft.com/office/drawing/2014/main" id="{696249EB-44C4-3A43-A911-59E98897160D}"/>
                </a:ext>
              </a:extLst>
            </p:cNvPr>
            <p:cNvSpPr/>
            <p:nvPr/>
          </p:nvSpPr>
          <p:spPr>
            <a:xfrm>
              <a:off x="969203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3" name="Oval 492">
              <a:extLst>
                <a:ext uri="{FF2B5EF4-FFF2-40B4-BE49-F238E27FC236}">
                  <a16:creationId xmlns:a16="http://schemas.microsoft.com/office/drawing/2014/main" id="{48D47958-6E02-6842-A044-3D038EC12A11}"/>
                </a:ext>
              </a:extLst>
            </p:cNvPr>
            <p:cNvSpPr/>
            <p:nvPr/>
          </p:nvSpPr>
          <p:spPr>
            <a:xfrm>
              <a:off x="9826629"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4" name="Oval 493">
              <a:extLst>
                <a:ext uri="{FF2B5EF4-FFF2-40B4-BE49-F238E27FC236}">
                  <a16:creationId xmlns:a16="http://schemas.microsoft.com/office/drawing/2014/main" id="{619AE1D5-0C0A-FE4A-80DB-41DE37FD29CE}"/>
                </a:ext>
              </a:extLst>
            </p:cNvPr>
            <p:cNvSpPr/>
            <p:nvPr/>
          </p:nvSpPr>
          <p:spPr>
            <a:xfrm>
              <a:off x="996122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5" name="Oval 494">
              <a:extLst>
                <a:ext uri="{FF2B5EF4-FFF2-40B4-BE49-F238E27FC236}">
                  <a16:creationId xmlns:a16="http://schemas.microsoft.com/office/drawing/2014/main" id="{BD20DAE2-5AE4-184F-9939-FDE89B0D5273}"/>
                </a:ext>
              </a:extLst>
            </p:cNvPr>
            <p:cNvSpPr/>
            <p:nvPr/>
          </p:nvSpPr>
          <p:spPr>
            <a:xfrm>
              <a:off x="10095815"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6" name="Oval 495">
              <a:extLst>
                <a:ext uri="{FF2B5EF4-FFF2-40B4-BE49-F238E27FC236}">
                  <a16:creationId xmlns:a16="http://schemas.microsoft.com/office/drawing/2014/main" id="{BA61CAFD-CBB7-B547-A326-529E1F201268}"/>
                </a:ext>
              </a:extLst>
            </p:cNvPr>
            <p:cNvSpPr/>
            <p:nvPr/>
          </p:nvSpPr>
          <p:spPr>
            <a:xfrm>
              <a:off x="10228899"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7" name="Oval 496">
              <a:extLst>
                <a:ext uri="{FF2B5EF4-FFF2-40B4-BE49-F238E27FC236}">
                  <a16:creationId xmlns:a16="http://schemas.microsoft.com/office/drawing/2014/main" id="{EE9475F4-AA07-104B-BCE2-167234AB8A7E}"/>
                </a:ext>
              </a:extLst>
            </p:cNvPr>
            <p:cNvSpPr/>
            <p:nvPr/>
          </p:nvSpPr>
          <p:spPr>
            <a:xfrm>
              <a:off x="10363492"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8" name="Oval 497">
              <a:extLst>
                <a:ext uri="{FF2B5EF4-FFF2-40B4-BE49-F238E27FC236}">
                  <a16:creationId xmlns:a16="http://schemas.microsoft.com/office/drawing/2014/main" id="{922362FC-D12E-6841-8B39-ECD7CE43D12F}"/>
                </a:ext>
              </a:extLst>
            </p:cNvPr>
            <p:cNvSpPr/>
            <p:nvPr/>
          </p:nvSpPr>
          <p:spPr>
            <a:xfrm>
              <a:off x="10498085"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9" name="Oval 498">
              <a:extLst>
                <a:ext uri="{FF2B5EF4-FFF2-40B4-BE49-F238E27FC236}">
                  <a16:creationId xmlns:a16="http://schemas.microsoft.com/office/drawing/2014/main" id="{4D27CA0F-2CB8-7647-AB53-85140540FF98}"/>
                </a:ext>
              </a:extLst>
            </p:cNvPr>
            <p:cNvSpPr/>
            <p:nvPr/>
          </p:nvSpPr>
          <p:spPr>
            <a:xfrm>
              <a:off x="10632678"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0" name="Oval 499">
              <a:extLst>
                <a:ext uri="{FF2B5EF4-FFF2-40B4-BE49-F238E27FC236}">
                  <a16:creationId xmlns:a16="http://schemas.microsoft.com/office/drawing/2014/main" id="{D49DFA9E-122A-9C4F-BF7E-BC26E7E9C148}"/>
                </a:ext>
              </a:extLst>
            </p:cNvPr>
            <p:cNvSpPr/>
            <p:nvPr/>
          </p:nvSpPr>
          <p:spPr>
            <a:xfrm>
              <a:off x="1076429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1" name="Oval 500">
              <a:extLst>
                <a:ext uri="{FF2B5EF4-FFF2-40B4-BE49-F238E27FC236}">
                  <a16:creationId xmlns:a16="http://schemas.microsoft.com/office/drawing/2014/main" id="{1B63966C-E673-624E-A7AD-E504E240624B}"/>
                </a:ext>
              </a:extLst>
            </p:cNvPr>
            <p:cNvSpPr/>
            <p:nvPr/>
          </p:nvSpPr>
          <p:spPr>
            <a:xfrm>
              <a:off x="928402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2" name="Oval 501">
              <a:extLst>
                <a:ext uri="{FF2B5EF4-FFF2-40B4-BE49-F238E27FC236}">
                  <a16:creationId xmlns:a16="http://schemas.microsoft.com/office/drawing/2014/main" id="{F39BF102-DC2B-5C48-8CD9-D7AD6B8C818C}"/>
                </a:ext>
              </a:extLst>
            </p:cNvPr>
            <p:cNvSpPr/>
            <p:nvPr/>
          </p:nvSpPr>
          <p:spPr>
            <a:xfrm>
              <a:off x="941861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3" name="Oval 502">
              <a:extLst>
                <a:ext uri="{FF2B5EF4-FFF2-40B4-BE49-F238E27FC236}">
                  <a16:creationId xmlns:a16="http://schemas.microsoft.com/office/drawing/2014/main" id="{F82EB9C0-9F0F-2145-A86C-0CC45BFC1110}"/>
                </a:ext>
              </a:extLst>
            </p:cNvPr>
            <p:cNvSpPr/>
            <p:nvPr/>
          </p:nvSpPr>
          <p:spPr>
            <a:xfrm>
              <a:off x="955320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4" name="Oval 503">
              <a:extLst>
                <a:ext uri="{FF2B5EF4-FFF2-40B4-BE49-F238E27FC236}">
                  <a16:creationId xmlns:a16="http://schemas.microsoft.com/office/drawing/2014/main" id="{DC49221D-403F-B943-A710-2A9BDECC7C60}"/>
                </a:ext>
              </a:extLst>
            </p:cNvPr>
            <p:cNvSpPr/>
            <p:nvPr/>
          </p:nvSpPr>
          <p:spPr>
            <a:xfrm>
              <a:off x="968780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5" name="Oval 504">
              <a:extLst>
                <a:ext uri="{FF2B5EF4-FFF2-40B4-BE49-F238E27FC236}">
                  <a16:creationId xmlns:a16="http://schemas.microsoft.com/office/drawing/2014/main" id="{31D0EA65-9CD4-6341-AE88-5B4C2BA40D2E}"/>
                </a:ext>
              </a:extLst>
            </p:cNvPr>
            <p:cNvSpPr/>
            <p:nvPr/>
          </p:nvSpPr>
          <p:spPr>
            <a:xfrm>
              <a:off x="9820885"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6" name="Oval 505">
              <a:extLst>
                <a:ext uri="{FF2B5EF4-FFF2-40B4-BE49-F238E27FC236}">
                  <a16:creationId xmlns:a16="http://schemas.microsoft.com/office/drawing/2014/main" id="{2047C753-F4DB-BC4A-B464-4ECC37B61FD3}"/>
                </a:ext>
              </a:extLst>
            </p:cNvPr>
            <p:cNvSpPr/>
            <p:nvPr/>
          </p:nvSpPr>
          <p:spPr>
            <a:xfrm>
              <a:off x="9955478"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7" name="Oval 506">
              <a:extLst>
                <a:ext uri="{FF2B5EF4-FFF2-40B4-BE49-F238E27FC236}">
                  <a16:creationId xmlns:a16="http://schemas.microsoft.com/office/drawing/2014/main" id="{885A7921-6A50-5341-A968-F93DBDCDD2F3}"/>
                </a:ext>
              </a:extLst>
            </p:cNvPr>
            <p:cNvSpPr/>
            <p:nvPr/>
          </p:nvSpPr>
          <p:spPr>
            <a:xfrm>
              <a:off x="1009007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8" name="Oval 507">
              <a:extLst>
                <a:ext uri="{FF2B5EF4-FFF2-40B4-BE49-F238E27FC236}">
                  <a16:creationId xmlns:a16="http://schemas.microsoft.com/office/drawing/2014/main" id="{FA9CD21A-1D76-B143-90AF-C1069E1542B1}"/>
                </a:ext>
              </a:extLst>
            </p:cNvPr>
            <p:cNvSpPr/>
            <p:nvPr/>
          </p:nvSpPr>
          <p:spPr>
            <a:xfrm>
              <a:off x="1022466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9" name="Oval 508">
              <a:extLst>
                <a:ext uri="{FF2B5EF4-FFF2-40B4-BE49-F238E27FC236}">
                  <a16:creationId xmlns:a16="http://schemas.microsoft.com/office/drawing/2014/main" id="{9DAE922F-8D1C-964A-9DEB-B1DCF0F47FED}"/>
                </a:ext>
              </a:extLst>
            </p:cNvPr>
            <p:cNvSpPr/>
            <p:nvPr/>
          </p:nvSpPr>
          <p:spPr>
            <a:xfrm>
              <a:off x="1035774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0" name="Oval 509">
              <a:extLst>
                <a:ext uri="{FF2B5EF4-FFF2-40B4-BE49-F238E27FC236}">
                  <a16:creationId xmlns:a16="http://schemas.microsoft.com/office/drawing/2014/main" id="{3B75867A-B33B-5B48-B191-A8F1C2845018}"/>
                </a:ext>
              </a:extLst>
            </p:cNvPr>
            <p:cNvSpPr/>
            <p:nvPr/>
          </p:nvSpPr>
          <p:spPr>
            <a:xfrm>
              <a:off x="1049234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1" name="Oval 510">
              <a:extLst>
                <a:ext uri="{FF2B5EF4-FFF2-40B4-BE49-F238E27FC236}">
                  <a16:creationId xmlns:a16="http://schemas.microsoft.com/office/drawing/2014/main" id="{4006704E-01D0-F945-A3A5-2DA2457100FE}"/>
                </a:ext>
              </a:extLst>
            </p:cNvPr>
            <p:cNvSpPr/>
            <p:nvPr/>
          </p:nvSpPr>
          <p:spPr>
            <a:xfrm>
              <a:off x="1062693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2" name="Oval 511">
              <a:extLst>
                <a:ext uri="{FF2B5EF4-FFF2-40B4-BE49-F238E27FC236}">
                  <a16:creationId xmlns:a16="http://schemas.microsoft.com/office/drawing/2014/main" id="{E7584574-5A82-AA48-B08F-E4A458DE5369}"/>
                </a:ext>
              </a:extLst>
            </p:cNvPr>
            <p:cNvSpPr/>
            <p:nvPr/>
          </p:nvSpPr>
          <p:spPr>
            <a:xfrm>
              <a:off x="961416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3" name="Oval 512">
              <a:extLst>
                <a:ext uri="{FF2B5EF4-FFF2-40B4-BE49-F238E27FC236}">
                  <a16:creationId xmlns:a16="http://schemas.microsoft.com/office/drawing/2014/main" id="{D3690C37-54FF-C947-B484-80AD971281A2}"/>
                </a:ext>
              </a:extLst>
            </p:cNvPr>
            <p:cNvSpPr/>
            <p:nvPr/>
          </p:nvSpPr>
          <p:spPr>
            <a:xfrm>
              <a:off x="9748760"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4" name="Oval 513">
              <a:extLst>
                <a:ext uri="{FF2B5EF4-FFF2-40B4-BE49-F238E27FC236}">
                  <a16:creationId xmlns:a16="http://schemas.microsoft.com/office/drawing/2014/main" id="{FF827B4E-F50F-7545-A846-38F11F54B844}"/>
                </a:ext>
              </a:extLst>
            </p:cNvPr>
            <p:cNvSpPr/>
            <p:nvPr/>
          </p:nvSpPr>
          <p:spPr>
            <a:xfrm>
              <a:off x="9881845"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5" name="Oval 514">
              <a:extLst>
                <a:ext uri="{FF2B5EF4-FFF2-40B4-BE49-F238E27FC236}">
                  <a16:creationId xmlns:a16="http://schemas.microsoft.com/office/drawing/2014/main" id="{110BA8C9-62DE-AB40-B2FF-8420EEEB6AD1}"/>
                </a:ext>
              </a:extLst>
            </p:cNvPr>
            <p:cNvSpPr/>
            <p:nvPr/>
          </p:nvSpPr>
          <p:spPr>
            <a:xfrm>
              <a:off x="1001643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6" name="Oval 515">
              <a:extLst>
                <a:ext uri="{FF2B5EF4-FFF2-40B4-BE49-F238E27FC236}">
                  <a16:creationId xmlns:a16="http://schemas.microsoft.com/office/drawing/2014/main" id="{2E9DE6C5-08E0-1344-B597-FC4377A51860}"/>
                </a:ext>
              </a:extLst>
            </p:cNvPr>
            <p:cNvSpPr/>
            <p:nvPr/>
          </p:nvSpPr>
          <p:spPr>
            <a:xfrm>
              <a:off x="10151031"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7" name="Oval 516">
              <a:extLst>
                <a:ext uri="{FF2B5EF4-FFF2-40B4-BE49-F238E27FC236}">
                  <a16:creationId xmlns:a16="http://schemas.microsoft.com/office/drawing/2014/main" id="{8FF58E88-CA34-AB46-B78C-2A4B9203239A}"/>
                </a:ext>
              </a:extLst>
            </p:cNvPr>
            <p:cNvSpPr/>
            <p:nvPr/>
          </p:nvSpPr>
          <p:spPr>
            <a:xfrm>
              <a:off x="10285624"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8" name="Flowchart: Magnetic Disk 268">
              <a:extLst>
                <a:ext uri="{FF2B5EF4-FFF2-40B4-BE49-F238E27FC236}">
                  <a16:creationId xmlns:a16="http://schemas.microsoft.com/office/drawing/2014/main" id="{DCDEDA39-695D-B847-969B-1674B97AA7C3}"/>
                </a:ext>
              </a:extLst>
            </p:cNvPr>
            <p:cNvSpPr/>
            <p:nvPr/>
          </p:nvSpPr>
          <p:spPr>
            <a:xfrm>
              <a:off x="9168046" y="2310115"/>
              <a:ext cx="1726080" cy="2488432"/>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9" name="Rectangle 518">
              <a:extLst>
                <a:ext uri="{FF2B5EF4-FFF2-40B4-BE49-F238E27FC236}">
                  <a16:creationId xmlns:a16="http://schemas.microsoft.com/office/drawing/2014/main" id="{404277DE-8FCD-A641-A907-339CC168BD62}"/>
                </a:ext>
              </a:extLst>
            </p:cNvPr>
            <p:cNvSpPr/>
            <p:nvPr/>
          </p:nvSpPr>
          <p:spPr>
            <a:xfrm>
              <a:off x="8952126" y="3045794"/>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20" name="Graphic 195">
              <a:extLst>
                <a:ext uri="{FF2B5EF4-FFF2-40B4-BE49-F238E27FC236}">
                  <a16:creationId xmlns:a16="http://schemas.microsoft.com/office/drawing/2014/main" id="{A87DFD31-F4D3-3A4A-9225-53267D6FA88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88702" y="3082370"/>
              <a:ext cx="365760" cy="365760"/>
            </a:xfrm>
            <a:prstGeom prst="rect">
              <a:avLst/>
            </a:prstGeom>
          </p:spPr>
        </p:pic>
        <p:sp>
          <p:nvSpPr>
            <p:cNvPr id="521" name="Oval 520">
              <a:extLst>
                <a:ext uri="{FF2B5EF4-FFF2-40B4-BE49-F238E27FC236}">
                  <a16:creationId xmlns:a16="http://schemas.microsoft.com/office/drawing/2014/main" id="{49200C67-3835-594E-BEAE-42A2D22509D8}"/>
                </a:ext>
              </a:extLst>
            </p:cNvPr>
            <p:cNvSpPr/>
            <p:nvPr/>
          </p:nvSpPr>
          <p:spPr>
            <a:xfrm>
              <a:off x="9218904"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2" name="Oval 521">
              <a:extLst>
                <a:ext uri="{FF2B5EF4-FFF2-40B4-BE49-F238E27FC236}">
                  <a16:creationId xmlns:a16="http://schemas.microsoft.com/office/drawing/2014/main" id="{A7866279-DA24-8742-A091-4DE37DEEC8A6}"/>
                </a:ext>
              </a:extLst>
            </p:cNvPr>
            <p:cNvSpPr/>
            <p:nvPr/>
          </p:nvSpPr>
          <p:spPr>
            <a:xfrm>
              <a:off x="935349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3" name="Oval 522">
              <a:extLst>
                <a:ext uri="{FF2B5EF4-FFF2-40B4-BE49-F238E27FC236}">
                  <a16:creationId xmlns:a16="http://schemas.microsoft.com/office/drawing/2014/main" id="{9D1E0FD7-8931-874C-A419-F5E623428FA5}"/>
                </a:ext>
              </a:extLst>
            </p:cNvPr>
            <p:cNvSpPr/>
            <p:nvPr/>
          </p:nvSpPr>
          <p:spPr>
            <a:xfrm>
              <a:off x="948809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4" name="Oval 523">
              <a:extLst>
                <a:ext uri="{FF2B5EF4-FFF2-40B4-BE49-F238E27FC236}">
                  <a16:creationId xmlns:a16="http://schemas.microsoft.com/office/drawing/2014/main" id="{2198E634-F898-804B-9CDA-9FB0A5F432DA}"/>
                </a:ext>
              </a:extLst>
            </p:cNvPr>
            <p:cNvSpPr/>
            <p:nvPr/>
          </p:nvSpPr>
          <p:spPr>
            <a:xfrm>
              <a:off x="962268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5" name="Oval 524">
              <a:extLst>
                <a:ext uri="{FF2B5EF4-FFF2-40B4-BE49-F238E27FC236}">
                  <a16:creationId xmlns:a16="http://schemas.microsoft.com/office/drawing/2014/main" id="{C5208220-97F4-E842-9062-720C0A33424F}"/>
                </a:ext>
              </a:extLst>
            </p:cNvPr>
            <p:cNvSpPr/>
            <p:nvPr/>
          </p:nvSpPr>
          <p:spPr>
            <a:xfrm>
              <a:off x="9755768"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6" name="Oval 525">
              <a:extLst>
                <a:ext uri="{FF2B5EF4-FFF2-40B4-BE49-F238E27FC236}">
                  <a16:creationId xmlns:a16="http://schemas.microsoft.com/office/drawing/2014/main" id="{BDDDFF53-180F-754F-89AF-A5F953B33149}"/>
                </a:ext>
              </a:extLst>
            </p:cNvPr>
            <p:cNvSpPr/>
            <p:nvPr/>
          </p:nvSpPr>
          <p:spPr>
            <a:xfrm>
              <a:off x="9890361"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7" name="Oval 526">
              <a:extLst>
                <a:ext uri="{FF2B5EF4-FFF2-40B4-BE49-F238E27FC236}">
                  <a16:creationId xmlns:a16="http://schemas.microsoft.com/office/drawing/2014/main" id="{366E8750-1B89-9A42-8D72-EAEAD34B8155}"/>
                </a:ext>
              </a:extLst>
            </p:cNvPr>
            <p:cNvSpPr/>
            <p:nvPr/>
          </p:nvSpPr>
          <p:spPr>
            <a:xfrm>
              <a:off x="1002495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8" name="Oval 527">
              <a:extLst>
                <a:ext uri="{FF2B5EF4-FFF2-40B4-BE49-F238E27FC236}">
                  <a16:creationId xmlns:a16="http://schemas.microsoft.com/office/drawing/2014/main" id="{BA91CEA9-6384-544E-80D0-D889EF88A761}"/>
                </a:ext>
              </a:extLst>
            </p:cNvPr>
            <p:cNvSpPr/>
            <p:nvPr/>
          </p:nvSpPr>
          <p:spPr>
            <a:xfrm>
              <a:off x="1015954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9" name="Oval 528">
              <a:extLst>
                <a:ext uri="{FF2B5EF4-FFF2-40B4-BE49-F238E27FC236}">
                  <a16:creationId xmlns:a16="http://schemas.microsoft.com/office/drawing/2014/main" id="{B3FFA168-319F-A043-8018-A6485B2F6868}"/>
                </a:ext>
              </a:extLst>
            </p:cNvPr>
            <p:cNvSpPr/>
            <p:nvPr/>
          </p:nvSpPr>
          <p:spPr>
            <a:xfrm>
              <a:off x="10292631"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0" name="Oval 529">
              <a:extLst>
                <a:ext uri="{FF2B5EF4-FFF2-40B4-BE49-F238E27FC236}">
                  <a16:creationId xmlns:a16="http://schemas.microsoft.com/office/drawing/2014/main" id="{E932794D-5F5A-F44D-8DE9-C72277A9B1D8}"/>
                </a:ext>
              </a:extLst>
            </p:cNvPr>
            <p:cNvSpPr/>
            <p:nvPr/>
          </p:nvSpPr>
          <p:spPr>
            <a:xfrm>
              <a:off x="1042722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1" name="Oval 530">
              <a:extLst>
                <a:ext uri="{FF2B5EF4-FFF2-40B4-BE49-F238E27FC236}">
                  <a16:creationId xmlns:a16="http://schemas.microsoft.com/office/drawing/2014/main" id="{49E6A823-2A39-CE48-B7A2-855A825738E9}"/>
                </a:ext>
              </a:extLst>
            </p:cNvPr>
            <p:cNvSpPr/>
            <p:nvPr/>
          </p:nvSpPr>
          <p:spPr>
            <a:xfrm>
              <a:off x="1056181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2" name="Oval 531">
              <a:extLst>
                <a:ext uri="{FF2B5EF4-FFF2-40B4-BE49-F238E27FC236}">
                  <a16:creationId xmlns:a16="http://schemas.microsoft.com/office/drawing/2014/main" id="{687EB371-152A-7144-A8A0-9B1E71416CBC}"/>
                </a:ext>
              </a:extLst>
            </p:cNvPr>
            <p:cNvSpPr/>
            <p:nvPr/>
          </p:nvSpPr>
          <p:spPr>
            <a:xfrm>
              <a:off x="1069641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9817728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74639" y="237321"/>
            <a:ext cx="11889564" cy="917575"/>
          </a:xfrm>
          <a:prstGeom prst="rect">
            <a:avLst/>
          </a:prstGeom>
        </p:spPr>
        <p:txBody>
          <a:bodyPr vert="horz" wrap="square" lIns="146304" tIns="91440" rIns="146304" bIns="91440"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r>
              <a:rPr kumimoji="0" lang="en-US" sz="4798"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FaaS is at the center of serverless</a:t>
            </a:r>
            <a:br>
              <a:rPr kumimoji="0" lang="en-US" sz="4798"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br>
            <a:r>
              <a:rPr kumimoji="0" lang="en-US" sz="1800"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as-a-Service programming model uses functions to achieve true serverless compute</a:t>
            </a:r>
          </a:p>
          <a:p>
            <a:pPr marL="0" marR="0" lvl="0" indent="0" algn="l" defTabSz="932384" rtl="0" eaLnBrk="1" fontAlgn="auto" latinLnBrk="0" hangingPunct="1">
              <a:lnSpc>
                <a:spcPct val="90000"/>
              </a:lnSpc>
              <a:spcBef>
                <a:spcPct val="0"/>
              </a:spcBef>
              <a:spcAft>
                <a:spcPts val="0"/>
              </a:spcAft>
              <a:buClrTx/>
              <a:buSzTx/>
              <a:buFontTx/>
              <a:buNone/>
              <a:tabLst/>
              <a:defRPr/>
            </a:pPr>
            <a:endParaRPr kumimoji="0" lang="en-US" sz="4798"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cxnSp>
        <p:nvCxnSpPr>
          <p:cNvPr id="10" name="Straight Connector 9">
            <a:extLst>
              <a:ext uri="{FF2B5EF4-FFF2-40B4-BE49-F238E27FC236}">
                <a16:creationId xmlns:a16="http://schemas.microsoft.com/office/drawing/2014/main" id="{FD24725B-AF3B-4D58-9661-038B1E35C1C4}"/>
              </a:ext>
            </a:extLst>
          </p:cNvPr>
          <p:cNvCxnSpPr>
            <a:cxnSpLocks/>
          </p:cNvCxnSpPr>
          <p:nvPr/>
        </p:nvCxnSpPr>
        <p:spPr>
          <a:xfrm>
            <a:off x="2987555"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06520FE-5C18-40B1-A07E-CA0406327A21}"/>
              </a:ext>
            </a:extLst>
          </p:cNvPr>
          <p:cNvGrpSpPr/>
          <p:nvPr/>
        </p:nvGrpSpPr>
        <p:grpSpPr>
          <a:xfrm>
            <a:off x="337916" y="3052876"/>
            <a:ext cx="2194560" cy="1833619"/>
            <a:chOff x="452199" y="1979172"/>
            <a:chExt cx="2194560" cy="1833619"/>
          </a:xfrm>
        </p:grpSpPr>
        <p:sp>
          <p:nvSpPr>
            <p:cNvPr id="3" name="Rectangle 2">
              <a:extLst>
                <a:ext uri="{FF2B5EF4-FFF2-40B4-BE49-F238E27FC236}">
                  <a16:creationId xmlns:a16="http://schemas.microsoft.com/office/drawing/2014/main" id="{D46F2403-348B-411E-A986-F93DE002D1FD}"/>
                </a:ext>
              </a:extLst>
            </p:cNvPr>
            <p:cNvSpPr/>
            <p:nvPr/>
          </p:nvSpPr>
          <p:spPr>
            <a:xfrm>
              <a:off x="452199" y="2646318"/>
              <a:ext cx="2194560" cy="1166473"/>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ingle responsibility</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are single-purposed, reusable pieces of code that process an input and return a result</a:t>
              </a:r>
            </a:p>
          </p:txBody>
        </p:sp>
        <p:sp>
          <p:nvSpPr>
            <p:cNvPr id="13" name="people_4" title="Icon of a person">
              <a:extLst>
                <a:ext uri="{FF2B5EF4-FFF2-40B4-BE49-F238E27FC236}">
                  <a16:creationId xmlns:a16="http://schemas.microsoft.com/office/drawing/2014/main" id="{C4A21A1E-7BBA-428A-A42E-CA9B6F16510C}"/>
                </a:ext>
              </a:extLst>
            </p:cNvPr>
            <p:cNvSpPr>
              <a:spLocks noChangeAspect="1" noEditPoints="1"/>
            </p:cNvSpPr>
            <p:nvPr/>
          </p:nvSpPr>
          <p:spPr bwMode="auto">
            <a:xfrm>
              <a:off x="1361502" y="1979172"/>
              <a:ext cx="375954" cy="4203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B84A97E-35AA-456E-AAF1-B39796AF3DEA}"/>
              </a:ext>
            </a:extLst>
          </p:cNvPr>
          <p:cNvGrpSpPr/>
          <p:nvPr/>
        </p:nvGrpSpPr>
        <p:grpSpPr>
          <a:xfrm>
            <a:off x="3482847" y="2991460"/>
            <a:ext cx="2395107" cy="1895035"/>
            <a:chOff x="3520362" y="2291270"/>
            <a:chExt cx="2395107" cy="1895035"/>
          </a:xfrm>
        </p:grpSpPr>
        <p:sp>
          <p:nvSpPr>
            <p:cNvPr id="5" name="Rectangle 4">
              <a:extLst>
                <a:ext uri="{FF2B5EF4-FFF2-40B4-BE49-F238E27FC236}">
                  <a16:creationId xmlns:a16="http://schemas.microsoft.com/office/drawing/2014/main" id="{51878D97-F437-46AD-9964-AEDDFAF08319}"/>
                </a:ext>
              </a:extLst>
            </p:cNvPr>
            <p:cNvSpPr/>
            <p:nvPr/>
          </p:nvSpPr>
          <p:spPr>
            <a:xfrm>
              <a:off x="3520362" y="3019832"/>
              <a:ext cx="2395107" cy="1166473"/>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hort lived</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don’t stick around when finished executing, freeing up resources for further executions</a:t>
              </a:r>
            </a:p>
          </p:txBody>
        </p:sp>
        <p:sp>
          <p:nvSpPr>
            <p:cNvPr id="14" name="algorithm" title="Icon of a heartbeat">
              <a:extLst>
                <a:ext uri="{FF2B5EF4-FFF2-40B4-BE49-F238E27FC236}">
                  <a16:creationId xmlns:a16="http://schemas.microsoft.com/office/drawing/2014/main" id="{58A9BF1B-19C4-4DDD-AADA-74CB70E6601A}"/>
                </a:ext>
              </a:extLst>
            </p:cNvPr>
            <p:cNvSpPr>
              <a:spLocks noChangeAspect="1" noEditPoints="1"/>
            </p:cNvSpPr>
            <p:nvPr/>
          </p:nvSpPr>
          <p:spPr bwMode="auto">
            <a:xfrm>
              <a:off x="4342589" y="2291270"/>
              <a:ext cx="556698" cy="481932"/>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3FB862C6-2205-4179-87BB-22735D127660}"/>
              </a:ext>
            </a:extLst>
          </p:cNvPr>
          <p:cNvGrpSpPr/>
          <p:nvPr/>
        </p:nvGrpSpPr>
        <p:grpSpPr>
          <a:xfrm>
            <a:off x="9772712" y="2914544"/>
            <a:ext cx="2325847" cy="1971951"/>
            <a:chOff x="9755078" y="2309759"/>
            <a:chExt cx="2325847" cy="1971951"/>
          </a:xfrm>
        </p:grpSpPr>
        <p:sp>
          <p:nvSpPr>
            <p:cNvPr id="6" name="Rectangle 5">
              <a:extLst>
                <a:ext uri="{FF2B5EF4-FFF2-40B4-BE49-F238E27FC236}">
                  <a16:creationId xmlns:a16="http://schemas.microsoft.com/office/drawing/2014/main" id="{FA4BCE56-7DE7-458E-9F0B-7768C7B0C318}"/>
                </a:ext>
              </a:extLst>
            </p:cNvPr>
            <p:cNvSpPr/>
            <p:nvPr/>
          </p:nvSpPr>
          <p:spPr>
            <a:xfrm>
              <a:off x="9755078" y="3111278"/>
              <a:ext cx="2325847" cy="1170432"/>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Event driven &amp; scalable</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respond to predefined events, and are instantly replicated as many times as needed</a:t>
              </a:r>
            </a:p>
          </p:txBody>
        </p:sp>
        <p:sp>
          <p:nvSpPr>
            <p:cNvPr id="15" name="Org_ECA6" title="Icon of three boxes in a bracket chart">
              <a:extLst>
                <a:ext uri="{FF2B5EF4-FFF2-40B4-BE49-F238E27FC236}">
                  <a16:creationId xmlns:a16="http://schemas.microsoft.com/office/drawing/2014/main" id="{7C5AC9E3-0CA8-4A27-A12D-6DC8D4AA8B82}"/>
                </a:ext>
              </a:extLst>
            </p:cNvPr>
            <p:cNvSpPr>
              <a:spLocks noChangeAspect="1" noEditPoints="1"/>
            </p:cNvSpPr>
            <p:nvPr/>
          </p:nvSpPr>
          <p:spPr bwMode="auto">
            <a:xfrm>
              <a:off x="10678290" y="2309759"/>
              <a:ext cx="479424" cy="47965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9AADB224-0CC3-4111-AF2A-07167A4FA9C3}"/>
              </a:ext>
            </a:extLst>
          </p:cNvPr>
          <p:cNvGrpSpPr/>
          <p:nvPr/>
        </p:nvGrpSpPr>
        <p:grpSpPr>
          <a:xfrm>
            <a:off x="6627780" y="2896055"/>
            <a:ext cx="2194560" cy="1994399"/>
            <a:chOff x="6665295" y="2298427"/>
            <a:chExt cx="2194560" cy="1994399"/>
          </a:xfrm>
        </p:grpSpPr>
        <p:sp>
          <p:nvSpPr>
            <p:cNvPr id="4" name="Rectangle 3">
              <a:extLst>
                <a:ext uri="{FF2B5EF4-FFF2-40B4-BE49-F238E27FC236}">
                  <a16:creationId xmlns:a16="http://schemas.microsoft.com/office/drawing/2014/main" id="{00F9E7DD-CF9A-4894-A7B2-42FB60867AEB}"/>
                </a:ext>
              </a:extLst>
            </p:cNvPr>
            <p:cNvSpPr/>
            <p:nvPr/>
          </p:nvSpPr>
          <p:spPr>
            <a:xfrm>
              <a:off x="6665295" y="3122394"/>
              <a:ext cx="2194560" cy="1170432"/>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tateless</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don’t hold any persistent state and don’t rely on the state of any other processes</a:t>
              </a:r>
            </a:p>
          </p:txBody>
        </p:sp>
        <p:sp>
          <p:nvSpPr>
            <p:cNvPr id="16" name="IoT" title="Icon of five circles that all connect to a center circle">
              <a:extLst>
                <a:ext uri="{FF2B5EF4-FFF2-40B4-BE49-F238E27FC236}">
                  <a16:creationId xmlns:a16="http://schemas.microsoft.com/office/drawing/2014/main" id="{425DE283-85FC-43C7-8CCE-AB12ED0BAB76}"/>
                </a:ext>
              </a:extLst>
            </p:cNvPr>
            <p:cNvSpPr>
              <a:spLocks noChangeAspect="1" noEditPoints="1"/>
            </p:cNvSpPr>
            <p:nvPr/>
          </p:nvSpPr>
          <p:spPr bwMode="auto">
            <a:xfrm>
              <a:off x="7504670" y="2298427"/>
              <a:ext cx="515810" cy="51663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18" name="Straight Connector 17">
            <a:extLst>
              <a:ext uri="{FF2B5EF4-FFF2-40B4-BE49-F238E27FC236}">
                <a16:creationId xmlns:a16="http://schemas.microsoft.com/office/drawing/2014/main" id="{73467155-90ED-41E5-9B1D-DAEAD10B2140}"/>
              </a:ext>
            </a:extLst>
          </p:cNvPr>
          <p:cNvCxnSpPr>
            <a:cxnSpLocks/>
          </p:cNvCxnSpPr>
          <p:nvPr/>
        </p:nvCxnSpPr>
        <p:spPr>
          <a:xfrm>
            <a:off x="6203047"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DA3EDF-2913-4680-8E05-6150EF3AF25E}"/>
              </a:ext>
            </a:extLst>
          </p:cNvPr>
          <p:cNvCxnSpPr>
            <a:cxnSpLocks/>
          </p:cNvCxnSpPr>
          <p:nvPr/>
        </p:nvCxnSpPr>
        <p:spPr>
          <a:xfrm>
            <a:off x="9243955"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400305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61C95-B144-4623-B24F-3F5B653740BE}"/>
              </a:ext>
            </a:extLst>
          </p:cNvPr>
          <p:cNvSpPr>
            <a:spLocks noGrp="1"/>
          </p:cNvSpPr>
          <p:nvPr>
            <p:ph type="title"/>
          </p:nvPr>
        </p:nvSpPr>
        <p:spPr>
          <a:xfrm>
            <a:off x="274639" y="295276"/>
            <a:ext cx="7589831" cy="917575"/>
          </a:xfrm>
        </p:spPr>
        <p:txBody>
          <a:bodyPr/>
          <a:lstStyle/>
          <a:p>
            <a:r>
              <a:rPr lang="en-US">
                <a:gradFill>
                  <a:gsLst>
                    <a:gs pos="1250">
                      <a:srgbClr val="505050"/>
                    </a:gs>
                    <a:gs pos="100000">
                      <a:srgbClr val="505050"/>
                    </a:gs>
                  </a:gsLst>
                  <a:lin ang="5400000" scaled="0"/>
                </a:gradFill>
              </a:rPr>
              <a:t>Azure Functions</a:t>
            </a:r>
            <a:br>
              <a:rPr lang="en-US">
                <a:gradFill>
                  <a:gsLst>
                    <a:gs pos="1250">
                      <a:srgbClr val="505050"/>
                    </a:gs>
                    <a:gs pos="100000">
                      <a:srgbClr val="505050"/>
                    </a:gs>
                  </a:gsLst>
                  <a:lin ang="5400000" scaled="0"/>
                </a:gradFill>
              </a:rPr>
            </a:br>
            <a:r>
              <a:rPr lang="en-US" sz="18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n event-based, serverless compute experience that accelerates app development</a:t>
            </a:r>
            <a:endParaRPr lang="en-US"/>
          </a:p>
        </p:txBody>
      </p:sp>
      <p:pic>
        <p:nvPicPr>
          <p:cNvPr id="3" name="Picture 2" descr="A group of people sitting at a table&#10;&#10;Description generated with very high confidence">
            <a:extLst>
              <a:ext uri="{FF2B5EF4-FFF2-40B4-BE49-F238E27FC236}">
                <a16:creationId xmlns:a16="http://schemas.microsoft.com/office/drawing/2014/main" id="{578FC818-2412-4667-85D1-7F653E1AE0F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864475" y="-1"/>
            <a:ext cx="4572000" cy="6994525"/>
          </a:xfrm>
          <a:prstGeom prst="rect">
            <a:avLst/>
          </a:prstGeom>
        </p:spPr>
      </p:pic>
      <p:cxnSp>
        <p:nvCxnSpPr>
          <p:cNvPr id="4" name="Straight Connector 3">
            <a:extLst>
              <a:ext uri="{FF2B5EF4-FFF2-40B4-BE49-F238E27FC236}">
                <a16:creationId xmlns:a16="http://schemas.microsoft.com/office/drawing/2014/main" id="{BFEF7176-8A9C-4E1B-8CC4-D02D39C8E4F2}"/>
              </a:ext>
            </a:extLst>
          </p:cNvPr>
          <p:cNvCxnSpPr>
            <a:cxnSpLocks/>
          </p:cNvCxnSpPr>
          <p:nvPr/>
        </p:nvCxnSpPr>
        <p:spPr>
          <a:xfrm>
            <a:off x="7864476" y="-1"/>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F7F28C1-B612-49F6-B9D9-E04520837DDB}"/>
              </a:ext>
            </a:extLst>
          </p:cNvPr>
          <p:cNvSpPr txBox="1"/>
          <p:nvPr/>
        </p:nvSpPr>
        <p:spPr>
          <a:xfrm>
            <a:off x="274626" y="1839431"/>
            <a:ext cx="7589830" cy="627864"/>
          </a:xfrm>
          <a:prstGeom prst="rect">
            <a:avLst/>
          </a:prstGeom>
          <a:noFill/>
        </p:spPr>
        <p:txBody>
          <a:bodyPr wrap="square" lIns="91440" tIns="146304" rIns="91440" bIns="146304" rtlCol="0">
            <a:spAutoFit/>
          </a:bodyPr>
          <a:lstStyle/>
          <a:p>
            <a:pPr marL="0" marR="0" lvl="0" indent="0" algn="ctr" defTabSz="4572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Azure Functions = </a:t>
            </a:r>
            <a:r>
              <a:rPr kumimoji="0" lang="en-US" sz="2400" b="1" i="0" u="none" strike="noStrike" kern="1200" cap="none" spc="0" normalizeH="0" baseline="0" noProof="0" err="1">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FaaS</a:t>
            </a:r>
            <a:r>
              <a:rPr kumimoji="0" lang="en-US" sz="24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a:t>
            </a:r>
          </a:p>
        </p:txBody>
      </p:sp>
      <p:grpSp>
        <p:nvGrpSpPr>
          <p:cNvPr id="68" name="Group 67">
            <a:extLst>
              <a:ext uri="{FF2B5EF4-FFF2-40B4-BE49-F238E27FC236}">
                <a16:creationId xmlns:a16="http://schemas.microsoft.com/office/drawing/2014/main" id="{D78DB761-2570-4CC2-85EC-F3E0B0FFBAA7}"/>
              </a:ext>
            </a:extLst>
          </p:cNvPr>
          <p:cNvGrpSpPr/>
          <p:nvPr/>
        </p:nvGrpSpPr>
        <p:grpSpPr>
          <a:xfrm>
            <a:off x="554700" y="2760743"/>
            <a:ext cx="5227137" cy="821763"/>
            <a:chOff x="1166012" y="2407341"/>
            <a:chExt cx="5227137" cy="821763"/>
          </a:xfrm>
        </p:grpSpPr>
        <p:sp>
          <p:nvSpPr>
            <p:cNvPr id="40" name="TextBox 39">
              <a:extLst>
                <a:ext uri="{FF2B5EF4-FFF2-40B4-BE49-F238E27FC236}">
                  <a16:creationId xmlns:a16="http://schemas.microsoft.com/office/drawing/2014/main" id="{74039C9E-DED4-4F63-9521-B13CDB9D0DD5}"/>
                </a:ext>
              </a:extLst>
            </p:cNvPr>
            <p:cNvSpPr txBox="1"/>
            <p:nvPr/>
          </p:nvSpPr>
          <p:spPr>
            <a:xfrm>
              <a:off x="2086516" y="2407341"/>
              <a:ext cx="4306633" cy="821763"/>
            </a:xfrm>
            <a:prstGeom prst="rect">
              <a:avLst/>
            </a:prstGeom>
            <a:noFill/>
          </p:spPr>
          <p:txBody>
            <a:bodyPr wrap="square" rtlCol="0">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Integrated programming model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built-in triggers and bindings to define when</a:t>
              </a:r>
              <a:b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 function is invoked and to what data it connects</a:t>
              </a:r>
            </a:p>
          </p:txBody>
        </p:sp>
        <p:sp>
          <p:nvSpPr>
            <p:cNvPr id="51" name="binary" title="Icon of binary code, ones and zeros">
              <a:extLst>
                <a:ext uri="{FF2B5EF4-FFF2-40B4-BE49-F238E27FC236}">
                  <a16:creationId xmlns:a16="http://schemas.microsoft.com/office/drawing/2014/main" id="{334DF678-0646-41CA-888A-FF46FC13FC0B}"/>
                </a:ext>
              </a:extLst>
            </p:cNvPr>
            <p:cNvSpPr>
              <a:spLocks noChangeAspect="1" noEditPoints="1"/>
            </p:cNvSpPr>
            <p:nvPr/>
          </p:nvSpPr>
          <p:spPr bwMode="auto">
            <a:xfrm>
              <a:off x="1166012" y="2624900"/>
              <a:ext cx="441192" cy="38097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29EAAD16-963B-4E29-B953-6D05B24A935B}"/>
              </a:ext>
            </a:extLst>
          </p:cNvPr>
          <p:cNvGrpSpPr/>
          <p:nvPr/>
        </p:nvGrpSpPr>
        <p:grpSpPr>
          <a:xfrm>
            <a:off x="537092" y="4070025"/>
            <a:ext cx="5950228" cy="821763"/>
            <a:chOff x="1148404" y="3888442"/>
            <a:chExt cx="5950228" cy="821763"/>
          </a:xfrm>
        </p:grpSpPr>
        <p:sp>
          <p:nvSpPr>
            <p:cNvPr id="35" name="TextBox 34">
              <a:extLst>
                <a:ext uri="{FF2B5EF4-FFF2-40B4-BE49-F238E27FC236}">
                  <a16:creationId xmlns:a16="http://schemas.microsoft.com/office/drawing/2014/main" id="{CFF074DF-5B7B-43B1-9E90-78DC9FAF1E06}"/>
                </a:ext>
              </a:extLst>
            </p:cNvPr>
            <p:cNvSpPr txBox="1"/>
            <p:nvPr/>
          </p:nvSpPr>
          <p:spPr>
            <a:xfrm>
              <a:off x="2086516" y="3888442"/>
              <a:ext cx="5012116" cy="821763"/>
            </a:xfrm>
            <a:prstGeom prst="rect">
              <a:avLst/>
            </a:prstGeom>
            <a:noFill/>
          </p:spPr>
          <p:txBody>
            <a:bodyPr wrap="square" rtlCol="0">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Enhanced development experience</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de, test and debug locally using your preferred editor or the easy-to-use web based interface including monitoring</a:t>
              </a:r>
            </a:p>
          </p:txBody>
        </p:sp>
        <p:sp>
          <p:nvSpPr>
            <p:cNvPr id="52" name="Website" title="Icon of multiple app windows">
              <a:extLst>
                <a:ext uri="{FF2B5EF4-FFF2-40B4-BE49-F238E27FC236}">
                  <a16:creationId xmlns:a16="http://schemas.microsoft.com/office/drawing/2014/main" id="{129A72C6-2E71-469C-938E-32707BF32FE2}"/>
                </a:ext>
              </a:extLst>
            </p:cNvPr>
            <p:cNvSpPr>
              <a:spLocks noChangeAspect="1" noEditPoints="1"/>
            </p:cNvSpPr>
            <p:nvPr/>
          </p:nvSpPr>
          <p:spPr bwMode="auto">
            <a:xfrm>
              <a:off x="1148404" y="4090605"/>
              <a:ext cx="476408" cy="417438"/>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9573B0D1-BB98-431D-B55A-902F7FC7B09A}"/>
              </a:ext>
            </a:extLst>
          </p:cNvPr>
          <p:cNvGrpSpPr/>
          <p:nvPr/>
        </p:nvGrpSpPr>
        <p:grpSpPr>
          <a:xfrm>
            <a:off x="618568" y="5379306"/>
            <a:ext cx="5647700" cy="807913"/>
            <a:chOff x="1229880" y="5379306"/>
            <a:chExt cx="5647700" cy="807913"/>
          </a:xfrm>
        </p:grpSpPr>
        <p:sp>
          <p:nvSpPr>
            <p:cNvPr id="30" name="TextBox 29">
              <a:extLst>
                <a:ext uri="{FF2B5EF4-FFF2-40B4-BE49-F238E27FC236}">
                  <a16:creationId xmlns:a16="http://schemas.microsoft.com/office/drawing/2014/main" id="{392D337E-D610-4E38-BB1F-4A1A6D8BA0C7}"/>
                </a:ext>
              </a:extLst>
            </p:cNvPr>
            <p:cNvSpPr txBox="1"/>
            <p:nvPr/>
          </p:nvSpPr>
          <p:spPr>
            <a:xfrm>
              <a:off x="2086516" y="5379306"/>
              <a:ext cx="4791064" cy="80791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Hosting options flexibility</a:t>
              </a:r>
              <a:endPar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hoose the deployment model that better fits your business needs without compromising development experience</a:t>
              </a:r>
            </a:p>
          </p:txBody>
        </p:sp>
        <p:sp>
          <p:nvSpPr>
            <p:cNvPr id="54" name="arrow_16" title="Icon of two arrows that crisscross">
              <a:extLst>
                <a:ext uri="{FF2B5EF4-FFF2-40B4-BE49-F238E27FC236}">
                  <a16:creationId xmlns:a16="http://schemas.microsoft.com/office/drawing/2014/main" id="{9D3BA2BE-99E2-490A-BDF9-AD7BFEF89D81}"/>
                </a:ext>
              </a:extLst>
            </p:cNvPr>
            <p:cNvSpPr>
              <a:spLocks noChangeAspect="1" noEditPoints="1"/>
            </p:cNvSpPr>
            <p:nvPr/>
          </p:nvSpPr>
          <p:spPr bwMode="auto">
            <a:xfrm rot="16200000">
              <a:off x="1173966" y="5626534"/>
              <a:ext cx="425286" cy="31345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21" name="Straight Connector 20">
            <a:extLst>
              <a:ext uri="{FF2B5EF4-FFF2-40B4-BE49-F238E27FC236}">
                <a16:creationId xmlns:a16="http://schemas.microsoft.com/office/drawing/2014/main" id="{A6D711FA-1335-4E2E-A1FE-B5B4495D09E1}"/>
              </a:ext>
            </a:extLst>
          </p:cNvPr>
          <p:cNvCxnSpPr>
            <a:cxnSpLocks/>
          </p:cNvCxnSpPr>
          <p:nvPr/>
        </p:nvCxnSpPr>
        <p:spPr>
          <a:xfrm>
            <a:off x="1323125" y="4039458"/>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6AE6D56-E601-4EBB-A8E6-FE21E70E862C}"/>
              </a:ext>
            </a:extLst>
          </p:cNvPr>
          <p:cNvCxnSpPr>
            <a:cxnSpLocks/>
          </p:cNvCxnSpPr>
          <p:nvPr/>
        </p:nvCxnSpPr>
        <p:spPr>
          <a:xfrm>
            <a:off x="1323125" y="5334002"/>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104BF9-0AAF-4F33-A725-EB2C348B0748}"/>
              </a:ext>
            </a:extLst>
          </p:cNvPr>
          <p:cNvCxnSpPr>
            <a:cxnSpLocks/>
          </p:cNvCxnSpPr>
          <p:nvPr/>
        </p:nvCxnSpPr>
        <p:spPr>
          <a:xfrm>
            <a:off x="1323125" y="2729921"/>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537665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descr="A person sitting at a desk&#10;&#10;Description generated with very high confidence">
            <a:extLst>
              <a:ext uri="{FF2B5EF4-FFF2-40B4-BE49-F238E27FC236}">
                <a16:creationId xmlns:a16="http://schemas.microsoft.com/office/drawing/2014/main" id="{72925E28-7938-4DB2-8B49-DF370BE33CE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6475" cy="1725610"/>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4639" y="1902414"/>
            <a:ext cx="7409401" cy="8306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798" b="0" i="0" u="none" strike="noStrike" kern="1200" cap="none" spc="-15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Boost development</a:t>
            </a:r>
            <a:r>
              <a:rPr kumimoji="0" lang="en-US" sz="4400" b="0" i="0" u="none" strike="noStrike" kern="1200" cap="none" spc="0" normalizeH="0" baseline="0" noProof="0">
                <a:ln>
                  <a:noFill/>
                </a:ln>
                <a:solidFill>
                  <a:srgbClr val="505050">
                    <a:lumMod val="65000"/>
                    <a:lumOff val="35000"/>
                  </a:srgbClr>
                </a:solidFill>
                <a:effectLst/>
                <a:uLnTx/>
                <a:uFillTx/>
                <a:latin typeface="Segoe UI Light" panose="020B0502040204020203" pitchFamily="34" charset="0"/>
                <a:ea typeface="+mn-ea"/>
                <a:cs typeface="Segoe UI Light" panose="020B0502040204020203" pitchFamily="34" charset="0"/>
              </a:rPr>
              <a:t> </a:t>
            </a:r>
            <a:r>
              <a:rPr kumimoji="0" lang="en-US" sz="4798" b="0" i="0" u="none" strike="noStrike" kern="1200" cap="none" spc="-150"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efficiency</a:t>
            </a:r>
          </a:p>
        </p:txBody>
      </p:sp>
      <p:grpSp>
        <p:nvGrpSpPr>
          <p:cNvPr id="79" name="Group 78">
            <a:extLst>
              <a:ext uri="{FF2B5EF4-FFF2-40B4-BE49-F238E27FC236}">
                <a16:creationId xmlns:a16="http://schemas.microsoft.com/office/drawing/2014/main" id="{4A8CDDCC-A8C1-4ECF-A82E-55461E826DC2}"/>
              </a:ext>
            </a:extLst>
          </p:cNvPr>
          <p:cNvGrpSpPr/>
          <p:nvPr/>
        </p:nvGrpSpPr>
        <p:grpSpPr>
          <a:xfrm>
            <a:off x="6454763" y="5634535"/>
            <a:ext cx="5715479" cy="822960"/>
            <a:chOff x="470263" y="3064901"/>
            <a:chExt cx="5715479" cy="822960"/>
          </a:xfrm>
        </p:grpSpPr>
        <p:sp>
          <p:nvSpPr>
            <p:cNvPr id="80" name="TextBox 79">
              <a:extLst>
                <a:ext uri="{FF2B5EF4-FFF2-40B4-BE49-F238E27FC236}">
                  <a16:creationId xmlns:a16="http://schemas.microsoft.com/office/drawing/2014/main" id="{32572E4D-7C96-4877-A841-E6522E975EE7}"/>
                </a:ext>
              </a:extLst>
            </p:cNvPr>
            <p:cNvSpPr txBox="1"/>
            <p:nvPr/>
          </p:nvSpPr>
          <p:spPr>
            <a:xfrm>
              <a:off x="1888062" y="3068577"/>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ntegrate with Azure Application Insight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Get near real-time details about function app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e metrics around failures, executions, etc.</a:t>
              </a:r>
            </a:p>
          </p:txBody>
        </p:sp>
        <p:cxnSp>
          <p:nvCxnSpPr>
            <p:cNvPr id="81" name="Straight Connector 80">
              <a:extLst>
                <a:ext uri="{FF2B5EF4-FFF2-40B4-BE49-F238E27FC236}">
                  <a16:creationId xmlns:a16="http://schemas.microsoft.com/office/drawing/2014/main" id="{B912231B-EE6C-47D5-A739-2DC2B506C764}"/>
                </a:ext>
              </a:extLst>
            </p:cNvPr>
            <p:cNvCxnSpPr/>
            <p:nvPr/>
          </p:nvCxnSpPr>
          <p:spPr>
            <a:xfrm>
              <a:off x="1749781" y="30649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D5CE8E3-9BD1-4D86-B323-690FD8336BD6}"/>
                </a:ext>
              </a:extLst>
            </p:cNvPr>
            <p:cNvSpPr txBox="1"/>
            <p:nvPr/>
          </p:nvSpPr>
          <p:spPr>
            <a:xfrm>
              <a:off x="470263" y="3508608"/>
              <a:ext cx="125633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onitoring</a:t>
              </a:r>
            </a:p>
          </p:txBody>
        </p:sp>
        <p:sp>
          <p:nvSpPr>
            <p:cNvPr id="83" name="Freeform 115">
              <a:extLst>
                <a:ext uri="{FF2B5EF4-FFF2-40B4-BE49-F238E27FC236}">
                  <a16:creationId xmlns:a16="http://schemas.microsoft.com/office/drawing/2014/main" id="{325BFB27-D3C9-43E7-95FE-86E888C06CB9}"/>
                </a:ext>
              </a:extLst>
            </p:cNvPr>
            <p:cNvSpPr>
              <a:spLocks noChangeAspect="1" noEditPoints="1"/>
            </p:cNvSpPr>
            <p:nvPr/>
          </p:nvSpPr>
          <p:spPr bwMode="black">
            <a:xfrm>
              <a:off x="921538" y="3123888"/>
              <a:ext cx="353789" cy="34747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E5063EC8-AD46-40F5-86D5-F2FED980E874}"/>
              </a:ext>
            </a:extLst>
          </p:cNvPr>
          <p:cNvGrpSpPr/>
          <p:nvPr/>
        </p:nvGrpSpPr>
        <p:grpSpPr>
          <a:xfrm>
            <a:off x="470263" y="5634535"/>
            <a:ext cx="5715479" cy="823023"/>
            <a:chOff x="470263" y="5634535"/>
            <a:chExt cx="5715479" cy="823023"/>
          </a:xfrm>
        </p:grpSpPr>
        <p:sp>
          <p:nvSpPr>
            <p:cNvPr id="88" name="TextBox 87">
              <a:extLst>
                <a:ext uri="{FF2B5EF4-FFF2-40B4-BE49-F238E27FC236}">
                  <a16:creationId xmlns:a16="http://schemas.microsoft.com/office/drawing/2014/main" id="{87E322A9-D253-46C2-9536-C59F3BF61317}"/>
                </a:ext>
              </a:extLst>
            </p:cNvPr>
            <p:cNvSpPr txBox="1"/>
            <p:nvPr/>
          </p:nvSpPr>
          <p:spPr>
            <a:xfrm>
              <a:off x="1888062" y="564195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ave time with built-in DevOp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Deploy functions using App Service for CI</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Leverage Microsoft, partner services for CD</a:t>
              </a:r>
            </a:p>
          </p:txBody>
        </p:sp>
        <p:grpSp>
          <p:nvGrpSpPr>
            <p:cNvPr id="95" name="Group 94">
              <a:extLst>
                <a:ext uri="{FF2B5EF4-FFF2-40B4-BE49-F238E27FC236}">
                  <a16:creationId xmlns:a16="http://schemas.microsoft.com/office/drawing/2014/main" id="{C1CC2DB9-C879-4B40-B201-E7BE7996B155}"/>
                </a:ext>
              </a:extLst>
            </p:cNvPr>
            <p:cNvGrpSpPr/>
            <p:nvPr/>
          </p:nvGrpSpPr>
          <p:grpSpPr>
            <a:xfrm>
              <a:off x="470263" y="5634535"/>
              <a:ext cx="1279518" cy="822960"/>
              <a:chOff x="6317586" y="4336711"/>
              <a:chExt cx="1279518" cy="822960"/>
            </a:xfrm>
          </p:grpSpPr>
          <p:cxnSp>
            <p:nvCxnSpPr>
              <p:cNvPr id="89" name="Straight Connector 88">
                <a:extLst>
                  <a:ext uri="{FF2B5EF4-FFF2-40B4-BE49-F238E27FC236}">
                    <a16:creationId xmlns:a16="http://schemas.microsoft.com/office/drawing/2014/main" id="{789C68BB-0DCE-403F-B7AC-A0537AD43A8B}"/>
                  </a:ext>
                </a:extLst>
              </p:cNvPr>
              <p:cNvCxnSpPr/>
              <p:nvPr/>
            </p:nvCxnSpPr>
            <p:spPr>
              <a:xfrm>
                <a:off x="7597104" y="433671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77A8363D-D790-459A-9EE7-BF9BE4056E39}"/>
                  </a:ext>
                </a:extLst>
              </p:cNvPr>
              <p:cNvSpPr txBox="1"/>
              <p:nvPr/>
            </p:nvSpPr>
            <p:spPr>
              <a:xfrm>
                <a:off x="6317586" y="4780418"/>
                <a:ext cx="125633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I/CD</a:t>
                </a:r>
              </a:p>
            </p:txBody>
          </p:sp>
          <p:pic>
            <p:nvPicPr>
              <p:cNvPr id="94" name="Picture 93">
                <a:extLst>
                  <a:ext uri="{FF2B5EF4-FFF2-40B4-BE49-F238E27FC236}">
                    <a16:creationId xmlns:a16="http://schemas.microsoft.com/office/drawing/2014/main" id="{EE224652-0EDA-4F78-A20D-BB5E243FB1D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62875" y="4536019"/>
                <a:ext cx="365760" cy="207151"/>
              </a:xfrm>
              <a:prstGeom prst="rect">
                <a:avLst/>
              </a:prstGeom>
            </p:spPr>
          </p:pic>
        </p:grpSp>
      </p:grpSp>
      <p:sp>
        <p:nvSpPr>
          <p:cNvPr id="33" name="TextBox 32">
            <a:extLst>
              <a:ext uri="{FF2B5EF4-FFF2-40B4-BE49-F238E27FC236}">
                <a16:creationId xmlns:a16="http://schemas.microsoft.com/office/drawing/2014/main" id="{430060D4-85B9-46C1-86D4-D7C30D901E3A}"/>
              </a:ext>
            </a:extLst>
          </p:cNvPr>
          <p:cNvSpPr txBox="1"/>
          <p:nvPr/>
        </p:nvSpPr>
        <p:spPr>
          <a:xfrm>
            <a:off x="1888062" y="330602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triggers to define how functions are invoked</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void hardcoding with preconfigured JSON file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Build serverless APIs using HTTP triggers</a:t>
            </a:r>
          </a:p>
        </p:txBody>
      </p:sp>
      <p:cxnSp>
        <p:nvCxnSpPr>
          <p:cNvPr id="34" name="Straight Connector 33">
            <a:extLst>
              <a:ext uri="{FF2B5EF4-FFF2-40B4-BE49-F238E27FC236}">
                <a16:creationId xmlns:a16="http://schemas.microsoft.com/office/drawing/2014/main" id="{D02F8D0B-D5EB-4EB6-B74F-5C7D1A367B88}"/>
              </a:ext>
            </a:extLst>
          </p:cNvPr>
          <p:cNvCxnSpPr/>
          <p:nvPr/>
        </p:nvCxnSpPr>
        <p:spPr>
          <a:xfrm>
            <a:off x="1749781" y="3302344"/>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F79A6CA8-3FEF-486B-9942-C8EED478073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5034" y="3343043"/>
            <a:ext cx="334415" cy="365760"/>
          </a:xfrm>
          <a:prstGeom prst="rect">
            <a:avLst/>
          </a:prstGeom>
        </p:spPr>
      </p:pic>
      <p:sp>
        <p:nvSpPr>
          <p:cNvPr id="38" name="TextBox 37">
            <a:extLst>
              <a:ext uri="{FF2B5EF4-FFF2-40B4-BE49-F238E27FC236}">
                <a16:creationId xmlns:a16="http://schemas.microsoft.com/office/drawing/2014/main" id="{BCBA54EB-AF5B-43E9-8760-D160707187F1}"/>
              </a:ext>
            </a:extLst>
          </p:cNvPr>
          <p:cNvSpPr txBox="1"/>
          <p:nvPr/>
        </p:nvSpPr>
        <p:spPr>
          <a:xfrm>
            <a:off x="537881" y="3746051"/>
            <a:ext cx="11887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Triggers</a:t>
            </a:r>
          </a:p>
        </p:txBody>
      </p:sp>
      <p:sp>
        <p:nvSpPr>
          <p:cNvPr id="41" name="TextBox 40">
            <a:extLst>
              <a:ext uri="{FF2B5EF4-FFF2-40B4-BE49-F238E27FC236}">
                <a16:creationId xmlns:a16="http://schemas.microsoft.com/office/drawing/2014/main" id="{BA9FCC21-7484-407B-9C59-D6A22D412E06}"/>
              </a:ext>
            </a:extLst>
          </p:cNvPr>
          <p:cNvSpPr txBox="1"/>
          <p:nvPr/>
        </p:nvSpPr>
        <p:spPr>
          <a:xfrm>
            <a:off x="7872562" y="330602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nnect to data with input and output binding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Bind to Azure solutions and third-party service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HTTP bindings in tandem with HTTP triggers</a:t>
            </a:r>
          </a:p>
        </p:txBody>
      </p:sp>
      <p:sp>
        <p:nvSpPr>
          <p:cNvPr id="49" name="Freeform 72">
            <a:extLst>
              <a:ext uri="{FF2B5EF4-FFF2-40B4-BE49-F238E27FC236}">
                <a16:creationId xmlns:a16="http://schemas.microsoft.com/office/drawing/2014/main" id="{A4F8F54D-3B07-47C1-B6F6-799B89452D75}"/>
              </a:ext>
            </a:extLst>
          </p:cNvPr>
          <p:cNvSpPr>
            <a:spLocks noChangeAspect="1"/>
          </p:cNvSpPr>
          <p:nvPr/>
        </p:nvSpPr>
        <p:spPr bwMode="black">
          <a:xfrm>
            <a:off x="6943730" y="3361331"/>
            <a:ext cx="346023" cy="347472"/>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TextBox 47">
            <a:extLst>
              <a:ext uri="{FF2B5EF4-FFF2-40B4-BE49-F238E27FC236}">
                <a16:creationId xmlns:a16="http://schemas.microsoft.com/office/drawing/2014/main" id="{ACAFBC05-9884-4606-A674-872A0C8ED183}"/>
              </a:ext>
            </a:extLst>
          </p:cNvPr>
          <p:cNvSpPr txBox="1"/>
          <p:nvPr/>
        </p:nvSpPr>
        <p:spPr>
          <a:xfrm>
            <a:off x="6522381" y="3746051"/>
            <a:ext cx="11887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Bindings</a:t>
            </a:r>
          </a:p>
        </p:txBody>
      </p:sp>
      <p:grpSp>
        <p:nvGrpSpPr>
          <p:cNvPr id="51" name="Group 50">
            <a:extLst>
              <a:ext uri="{FF2B5EF4-FFF2-40B4-BE49-F238E27FC236}">
                <a16:creationId xmlns:a16="http://schemas.microsoft.com/office/drawing/2014/main" id="{C8FE3064-F443-4675-84BF-B0FD2B95E66B}"/>
              </a:ext>
            </a:extLst>
          </p:cNvPr>
          <p:cNvGrpSpPr/>
          <p:nvPr/>
        </p:nvGrpSpPr>
        <p:grpSpPr>
          <a:xfrm>
            <a:off x="470263" y="4447890"/>
            <a:ext cx="5715479" cy="823023"/>
            <a:chOff x="6452056" y="4339942"/>
            <a:chExt cx="5715479" cy="823023"/>
          </a:xfrm>
        </p:grpSpPr>
        <p:sp>
          <p:nvSpPr>
            <p:cNvPr id="52" name="TextBox 51">
              <a:extLst>
                <a:ext uri="{FF2B5EF4-FFF2-40B4-BE49-F238E27FC236}">
                  <a16:creationId xmlns:a16="http://schemas.microsoft.com/office/drawing/2014/main" id="{CC1BFAEC-E48D-42AA-9847-911871F79954}"/>
                </a:ext>
              </a:extLst>
            </p:cNvPr>
            <p:cNvSpPr txBox="1"/>
            <p:nvPr/>
          </p:nvSpPr>
          <p:spPr>
            <a:xfrm>
              <a:off x="7869855" y="4347357"/>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Define one API surface for multiple function app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reate endpoints as reverse proxies to other API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ndition proxies to use variables</a:t>
              </a:r>
            </a:p>
          </p:txBody>
        </p:sp>
        <p:cxnSp>
          <p:nvCxnSpPr>
            <p:cNvPr id="53" name="Straight Connector 52">
              <a:extLst>
                <a:ext uri="{FF2B5EF4-FFF2-40B4-BE49-F238E27FC236}">
                  <a16:creationId xmlns:a16="http://schemas.microsoft.com/office/drawing/2014/main" id="{3F309675-342A-448A-ADDB-18D29832693B}"/>
                </a:ext>
              </a:extLst>
            </p:cNvPr>
            <p:cNvCxnSpPr/>
            <p:nvPr/>
          </p:nvCxnSpPr>
          <p:spPr>
            <a:xfrm>
              <a:off x="7731574" y="433994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69BB49F-01BA-435C-939E-600C472DF7B3}"/>
                </a:ext>
              </a:extLst>
            </p:cNvPr>
            <p:cNvSpPr txBox="1"/>
            <p:nvPr/>
          </p:nvSpPr>
          <p:spPr>
            <a:xfrm>
              <a:off x="6452056" y="4783649"/>
              <a:ext cx="125633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oxies</a:t>
              </a:r>
            </a:p>
          </p:txBody>
        </p:sp>
        <p:grpSp>
          <p:nvGrpSpPr>
            <p:cNvPr id="55" name="Group 54">
              <a:extLst>
                <a:ext uri="{FF2B5EF4-FFF2-40B4-BE49-F238E27FC236}">
                  <a16:creationId xmlns:a16="http://schemas.microsoft.com/office/drawing/2014/main" id="{092D0549-EEF9-498D-90F5-C747A1FF80AF}"/>
                </a:ext>
              </a:extLst>
            </p:cNvPr>
            <p:cNvGrpSpPr/>
            <p:nvPr/>
          </p:nvGrpSpPr>
          <p:grpSpPr>
            <a:xfrm>
              <a:off x="6855011" y="4607368"/>
              <a:ext cx="450429" cy="139033"/>
              <a:chOff x="10615579" y="5538993"/>
              <a:chExt cx="594360" cy="183460"/>
            </a:xfrm>
            <a:solidFill>
              <a:srgbClr val="0078D7"/>
            </a:solidFill>
          </p:grpSpPr>
          <p:sp>
            <p:nvSpPr>
              <p:cNvPr id="56" name="Freeform 131">
                <a:extLst>
                  <a:ext uri="{FF2B5EF4-FFF2-40B4-BE49-F238E27FC236}">
                    <a16:creationId xmlns:a16="http://schemas.microsoft.com/office/drawing/2014/main" id="{818ACE19-4F50-4DA1-A4FF-433488B1B3C7}"/>
                  </a:ext>
                </a:extLst>
              </p:cNvPr>
              <p:cNvSpPr>
                <a:spLocks/>
              </p:cNvSpPr>
              <p:nvPr/>
            </p:nvSpPr>
            <p:spPr bwMode="black">
              <a:xfrm>
                <a:off x="10942508" y="5542123"/>
                <a:ext cx="267431" cy="17156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pitchFamily="34" charset="0"/>
                  <a:ea typeface="+mn-ea"/>
                  <a:cs typeface="+mn-cs"/>
                </a:endParaRPr>
              </a:p>
            </p:txBody>
          </p:sp>
          <p:sp>
            <p:nvSpPr>
              <p:cNvPr id="57" name="Freeform 132">
                <a:extLst>
                  <a:ext uri="{FF2B5EF4-FFF2-40B4-BE49-F238E27FC236}">
                    <a16:creationId xmlns:a16="http://schemas.microsoft.com/office/drawing/2014/main" id="{CE0E520A-A362-4978-9822-AA0BD2747ED8}"/>
                  </a:ext>
                </a:extLst>
              </p:cNvPr>
              <p:cNvSpPr>
                <a:spLocks/>
              </p:cNvSpPr>
              <p:nvPr/>
            </p:nvSpPr>
            <p:spPr bwMode="black">
              <a:xfrm>
                <a:off x="10615579" y="5538993"/>
                <a:ext cx="274947" cy="183460"/>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pitchFamily="34" charset="0"/>
                  <a:ea typeface="+mn-ea"/>
                  <a:cs typeface="+mn-cs"/>
                </a:endParaRPr>
              </a:p>
            </p:txBody>
          </p:sp>
        </p:grpSp>
      </p:grpSp>
      <p:cxnSp>
        <p:nvCxnSpPr>
          <p:cNvPr id="58" name="Straight Connector 57">
            <a:extLst>
              <a:ext uri="{FF2B5EF4-FFF2-40B4-BE49-F238E27FC236}">
                <a16:creationId xmlns:a16="http://schemas.microsoft.com/office/drawing/2014/main" id="{636F74E4-5BE8-4754-8957-2CBD4507F418}"/>
              </a:ext>
            </a:extLst>
          </p:cNvPr>
          <p:cNvCxnSpPr/>
          <p:nvPr/>
        </p:nvCxnSpPr>
        <p:spPr>
          <a:xfrm>
            <a:off x="7734281" y="3302344"/>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544F4FC-9644-488F-863B-54F9C7BCB365}"/>
              </a:ext>
            </a:extLst>
          </p:cNvPr>
          <p:cNvGrpSpPr/>
          <p:nvPr/>
        </p:nvGrpSpPr>
        <p:grpSpPr>
          <a:xfrm>
            <a:off x="6472180" y="4392718"/>
            <a:ext cx="5698062" cy="923261"/>
            <a:chOff x="487680" y="4287472"/>
            <a:chExt cx="5698062" cy="923261"/>
          </a:xfrm>
        </p:grpSpPr>
        <p:cxnSp>
          <p:nvCxnSpPr>
            <p:cNvPr id="37" name="Straight Connector 36">
              <a:extLst>
                <a:ext uri="{FF2B5EF4-FFF2-40B4-BE49-F238E27FC236}">
                  <a16:creationId xmlns:a16="http://schemas.microsoft.com/office/drawing/2014/main" id="{43BB06FE-630C-47C5-B9EF-2A70590AA7A0}"/>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216F7379-01A8-491A-809A-DA0A9CBAC86D}"/>
                </a:ext>
              </a:extLst>
            </p:cNvPr>
            <p:cNvGrpSpPr/>
            <p:nvPr/>
          </p:nvGrpSpPr>
          <p:grpSpPr>
            <a:xfrm>
              <a:off x="487680" y="4287472"/>
              <a:ext cx="5698062" cy="923261"/>
              <a:chOff x="487680" y="4287472"/>
              <a:chExt cx="5698062" cy="923261"/>
            </a:xfrm>
          </p:grpSpPr>
          <p:sp>
            <p:nvSpPr>
              <p:cNvPr id="40" name="TextBox 39">
                <a:extLst>
                  <a:ext uri="{FF2B5EF4-FFF2-40B4-BE49-F238E27FC236}">
                    <a16:creationId xmlns:a16="http://schemas.microsoft.com/office/drawing/2014/main" id="{7141E27D-64FE-4EBF-8E9E-E410D31F9AA9}"/>
                  </a:ext>
                </a:extLst>
              </p:cNvPr>
              <p:cNvSpPr txBox="1"/>
              <p:nvPr/>
            </p:nvSpPr>
            <p:spPr>
              <a:xfrm>
                <a:off x="1888062" y="4360534"/>
                <a:ext cx="4297680" cy="777136"/>
              </a:xfrm>
              <a:prstGeom prst="rect">
                <a:avLst/>
              </a:prstGeom>
              <a:noFill/>
            </p:spPr>
            <p:txBody>
              <a:bodyPr wrap="square" rtlCol="0">
                <a:spAutoFit/>
              </a:bodyPr>
              <a:lstStyle>
                <a:defPPr>
                  <a:defRPr lang="en-US"/>
                </a:defPPr>
                <a:lvl1pPr>
                  <a:spcAft>
                    <a:spcPts val="300"/>
                  </a:spcAft>
                  <a:defRPr sz="1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Debug C# and JavaScript functions locally</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debugging tools in Azure portal, VS, and VS Code</a:t>
                </a:r>
              </a:p>
            </p:txBody>
          </p:sp>
          <p:grpSp>
            <p:nvGrpSpPr>
              <p:cNvPr id="43" name="Group 42">
                <a:extLst>
                  <a:ext uri="{FF2B5EF4-FFF2-40B4-BE49-F238E27FC236}">
                    <a16:creationId xmlns:a16="http://schemas.microsoft.com/office/drawing/2014/main" id="{8E4B45DE-B3E3-469C-BE9F-56CB4A2DAF20}"/>
                  </a:ext>
                </a:extLst>
              </p:cNvPr>
              <p:cNvGrpSpPr/>
              <p:nvPr/>
            </p:nvGrpSpPr>
            <p:grpSpPr>
              <a:xfrm>
                <a:off x="487680" y="4287472"/>
                <a:ext cx="1238921" cy="923261"/>
                <a:chOff x="487680" y="4395346"/>
                <a:chExt cx="1238921" cy="923261"/>
              </a:xfrm>
            </p:grpSpPr>
            <p:sp>
              <p:nvSpPr>
                <p:cNvPr id="44" name="TextBox 43">
                  <a:extLst>
                    <a:ext uri="{FF2B5EF4-FFF2-40B4-BE49-F238E27FC236}">
                      <a16:creationId xmlns:a16="http://schemas.microsoft.com/office/drawing/2014/main" id="{577CD68C-DAD2-41B6-89C2-42520F7F6CF4}"/>
                    </a:ext>
                  </a:extLst>
                </p:cNvPr>
                <p:cNvSpPr txBox="1"/>
                <p:nvPr/>
              </p:nvSpPr>
              <p:spPr>
                <a:xfrm>
                  <a:off x="487680" y="4832320"/>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Local debugging</a:t>
                  </a:r>
                </a:p>
              </p:txBody>
            </p:sp>
            <p:pic>
              <p:nvPicPr>
                <p:cNvPr id="46" name="Picture 45">
                  <a:extLst>
                    <a:ext uri="{FF2B5EF4-FFF2-40B4-BE49-F238E27FC236}">
                      <a16:creationId xmlns:a16="http://schemas.microsoft.com/office/drawing/2014/main" id="{130C960B-F275-4EE4-BA58-96FAC67E092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32202" y="4395346"/>
                  <a:ext cx="349877" cy="347472"/>
                </a:xfrm>
                <a:prstGeom prst="rect">
                  <a:avLst/>
                </a:prstGeom>
              </p:spPr>
            </p:pic>
          </p:grpSp>
        </p:grpSp>
      </p:grpSp>
    </p:spTree>
    <p:extLst>
      <p:ext uri="{BB962C8B-B14F-4D97-AF65-F5344CB8AC3E}">
        <p14:creationId xmlns:p14="http://schemas.microsoft.com/office/powerpoint/2010/main" val="18583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Picture 95" descr="A group of people sitting at a table in front of a window&#10;&#10;Description generated with very high confidence">
            <a:extLst>
              <a:ext uri="{FF2B5EF4-FFF2-40B4-BE49-F238E27FC236}">
                <a16:creationId xmlns:a16="http://schemas.microsoft.com/office/drawing/2014/main" id="{4D9CB1CB-3B9B-47AC-956A-D46B9EA698F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5840" cy="1725612"/>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4639" y="1902414"/>
            <a:ext cx="8930265" cy="8306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798" b="0" i="0" u="none" strike="noStrike" kern="1200" cap="none" spc="-15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Gain </a:t>
            </a:r>
            <a:r>
              <a:rPr kumimoji="0" lang="en-US" sz="4798" b="0" i="0" u="none" strike="noStrike" kern="1200" cap="none" spc="-150"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flexibility</a:t>
            </a:r>
            <a:r>
              <a:rPr kumimoji="0" lang="en-US" sz="4798" b="0" i="0" u="none" strike="noStrike" kern="1200" cap="none" spc="-15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 and develop your way</a:t>
            </a:r>
          </a:p>
        </p:txBody>
      </p:sp>
      <p:grpSp>
        <p:nvGrpSpPr>
          <p:cNvPr id="3" name="Group 2">
            <a:extLst>
              <a:ext uri="{FF2B5EF4-FFF2-40B4-BE49-F238E27FC236}">
                <a16:creationId xmlns:a16="http://schemas.microsoft.com/office/drawing/2014/main" id="{3A7B0100-F31A-44DA-BCE5-097E6419C4B8}"/>
              </a:ext>
            </a:extLst>
          </p:cNvPr>
          <p:cNvGrpSpPr/>
          <p:nvPr/>
        </p:nvGrpSpPr>
        <p:grpSpPr>
          <a:xfrm>
            <a:off x="320414" y="3451224"/>
            <a:ext cx="5953496" cy="927317"/>
            <a:chOff x="487680" y="2980369"/>
            <a:chExt cx="5953496" cy="927317"/>
          </a:xfrm>
        </p:grpSpPr>
        <p:cxnSp>
          <p:nvCxnSpPr>
            <p:cNvPr id="13" name="Straight Connector 12">
              <a:extLst>
                <a:ext uri="{FF2B5EF4-FFF2-40B4-BE49-F238E27FC236}">
                  <a16:creationId xmlns:a16="http://schemas.microsoft.com/office/drawing/2014/main" id="{953B7DF0-5EB0-496C-83A5-F19B1F3D58B4}"/>
                </a:ext>
              </a:extLst>
            </p:cNvPr>
            <p:cNvCxnSpPr/>
            <p:nvPr/>
          </p:nvCxnSpPr>
          <p:spPr>
            <a:xfrm>
              <a:off x="1749781" y="3034575"/>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D0298EF-8CA1-4EF0-83A7-1FB752112502}"/>
                </a:ext>
              </a:extLst>
            </p:cNvPr>
            <p:cNvSpPr txBox="1"/>
            <p:nvPr/>
          </p:nvSpPr>
          <p:spPr>
            <a:xfrm>
              <a:off x="1888061" y="3165209"/>
              <a:ext cx="4553115" cy="56169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rite code in C#, JavaScript, F#, and Java</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ntinuous investment in new, experimental languages</a:t>
              </a:r>
            </a:p>
          </p:txBody>
        </p:sp>
        <p:sp>
          <p:nvSpPr>
            <p:cNvPr id="17" name="TextBox 16">
              <a:extLst>
                <a:ext uri="{FF2B5EF4-FFF2-40B4-BE49-F238E27FC236}">
                  <a16:creationId xmlns:a16="http://schemas.microsoft.com/office/drawing/2014/main" id="{89A86484-FB0B-44D6-92A0-CDB3B1F0EC19}"/>
                </a:ext>
              </a:extLst>
            </p:cNvPr>
            <p:cNvSpPr txBox="1"/>
            <p:nvPr/>
          </p:nvSpPr>
          <p:spPr>
            <a:xfrm>
              <a:off x="487680" y="3421399"/>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ultiple languages</a:t>
              </a:r>
            </a:p>
          </p:txBody>
        </p:sp>
        <p:pic>
          <p:nvPicPr>
            <p:cNvPr id="19" name="Picture 18">
              <a:extLst>
                <a:ext uri="{FF2B5EF4-FFF2-40B4-BE49-F238E27FC236}">
                  <a16:creationId xmlns:a16="http://schemas.microsoft.com/office/drawing/2014/main" id="{E3680262-9461-4E4C-886B-14360FCE0066}"/>
                </a:ext>
              </a:extLst>
            </p:cNvPr>
            <p:cNvPicPr>
              <a:picLocks noChangeAspect="1"/>
            </p:cNvPicPr>
            <p:nvPr/>
          </p:nvPicPr>
          <p:blipFill>
            <a:blip r:embed="rId4"/>
            <a:stretch>
              <a:fillRect/>
            </a:stretch>
          </p:blipFill>
          <p:spPr>
            <a:xfrm>
              <a:off x="934900" y="2980369"/>
              <a:ext cx="344481" cy="370578"/>
            </a:xfrm>
            <a:prstGeom prst="rect">
              <a:avLst/>
            </a:prstGeom>
          </p:spPr>
        </p:pic>
      </p:grpSp>
      <p:grpSp>
        <p:nvGrpSpPr>
          <p:cNvPr id="4" name="Group 3">
            <a:extLst>
              <a:ext uri="{FF2B5EF4-FFF2-40B4-BE49-F238E27FC236}">
                <a16:creationId xmlns:a16="http://schemas.microsoft.com/office/drawing/2014/main" id="{859DE492-CB93-4E6D-AD6E-07B077200D2B}"/>
              </a:ext>
            </a:extLst>
          </p:cNvPr>
          <p:cNvGrpSpPr/>
          <p:nvPr/>
        </p:nvGrpSpPr>
        <p:grpSpPr>
          <a:xfrm>
            <a:off x="6193494" y="4808477"/>
            <a:ext cx="5998845" cy="873111"/>
            <a:chOff x="487680" y="4337622"/>
            <a:chExt cx="5998845" cy="873111"/>
          </a:xfrm>
        </p:grpSpPr>
        <p:cxnSp>
          <p:nvCxnSpPr>
            <p:cNvPr id="23" name="Straight Connector 22">
              <a:extLst>
                <a:ext uri="{FF2B5EF4-FFF2-40B4-BE49-F238E27FC236}">
                  <a16:creationId xmlns:a16="http://schemas.microsoft.com/office/drawing/2014/main" id="{8E120079-BE91-4554-B37B-B7E807D0B428}"/>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94A9E5F-07A7-4664-B98D-4BC1171C1B7B}"/>
                </a:ext>
              </a:extLst>
            </p:cNvPr>
            <p:cNvSpPr txBox="1"/>
            <p:nvPr/>
          </p:nvSpPr>
          <p:spPr>
            <a:xfrm>
              <a:off x="1888061" y="4468256"/>
              <a:ext cx="4598464" cy="56169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implify coding for new users with native Azure portal</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lect from popular editors, like VS, VS Code, CLI, Maven*</a:t>
              </a:r>
            </a:p>
          </p:txBody>
        </p:sp>
        <p:sp>
          <p:nvSpPr>
            <p:cNvPr id="27" name="TextBox 26">
              <a:extLst>
                <a:ext uri="{FF2B5EF4-FFF2-40B4-BE49-F238E27FC236}">
                  <a16:creationId xmlns:a16="http://schemas.microsoft.com/office/drawing/2014/main" id="{351C77FE-9037-4F83-A955-42A53C5821C4}"/>
                </a:ext>
              </a:extLst>
            </p:cNvPr>
            <p:cNvSpPr txBox="1"/>
            <p:nvPr/>
          </p:nvSpPr>
          <p:spPr>
            <a:xfrm>
              <a:off x="487680" y="4724446"/>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Dev options</a:t>
              </a:r>
            </a:p>
          </p:txBody>
        </p:sp>
        <p:sp>
          <p:nvSpPr>
            <p:cNvPr id="31" name="Freeform 110">
              <a:extLst>
                <a:ext uri="{FF2B5EF4-FFF2-40B4-BE49-F238E27FC236}">
                  <a16:creationId xmlns:a16="http://schemas.microsoft.com/office/drawing/2014/main" id="{46CCB5DD-87BE-492F-A666-15FC8F728097}"/>
                </a:ext>
              </a:extLst>
            </p:cNvPr>
            <p:cNvSpPr>
              <a:spLocks noChangeAspect="1" noEditPoints="1"/>
            </p:cNvSpPr>
            <p:nvPr/>
          </p:nvSpPr>
          <p:spPr bwMode="black">
            <a:xfrm>
              <a:off x="970760" y="4359814"/>
              <a:ext cx="272760" cy="275130"/>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9" name="TextBox 48">
            <a:extLst>
              <a:ext uri="{FF2B5EF4-FFF2-40B4-BE49-F238E27FC236}">
                <a16:creationId xmlns:a16="http://schemas.microsoft.com/office/drawing/2014/main" id="{17E87C2B-BA94-4EFF-A910-0BE3EE8A872B}"/>
              </a:ext>
            </a:extLst>
          </p:cNvPr>
          <p:cNvSpPr txBox="1"/>
          <p:nvPr/>
        </p:nvSpPr>
        <p:spPr>
          <a:xfrm>
            <a:off x="1720796" y="5059941"/>
            <a:ext cx="4297680" cy="56169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hoose from six consumption plans to run Function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Run your first million function executions for free</a:t>
            </a:r>
          </a:p>
        </p:txBody>
      </p:sp>
      <p:grpSp>
        <p:nvGrpSpPr>
          <p:cNvPr id="95" name="Group 94">
            <a:extLst>
              <a:ext uri="{FF2B5EF4-FFF2-40B4-BE49-F238E27FC236}">
                <a16:creationId xmlns:a16="http://schemas.microsoft.com/office/drawing/2014/main" id="{BC9DA66A-E3AC-4B17-97FB-6A473E7D95EB}"/>
              </a:ext>
            </a:extLst>
          </p:cNvPr>
          <p:cNvGrpSpPr/>
          <p:nvPr/>
        </p:nvGrpSpPr>
        <p:grpSpPr>
          <a:xfrm>
            <a:off x="320414" y="4882889"/>
            <a:ext cx="1262101" cy="919529"/>
            <a:chOff x="487680" y="5613635"/>
            <a:chExt cx="1262101" cy="919529"/>
          </a:xfrm>
        </p:grpSpPr>
        <p:cxnSp>
          <p:nvCxnSpPr>
            <p:cNvPr id="48" name="Straight Connector 47">
              <a:extLst>
                <a:ext uri="{FF2B5EF4-FFF2-40B4-BE49-F238E27FC236}">
                  <a16:creationId xmlns:a16="http://schemas.microsoft.com/office/drawing/2014/main" id="{EE09E181-16E9-4A00-AF57-BD9BFBA022D0}"/>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1D5A6F0A-4475-4136-ABBF-0DC28F6AE0C0}"/>
                </a:ext>
              </a:extLst>
            </p:cNvPr>
            <p:cNvSpPr txBox="1"/>
            <p:nvPr/>
          </p:nvSpPr>
          <p:spPr>
            <a:xfrm>
              <a:off x="487680" y="6046877"/>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Hosting options</a:t>
              </a:r>
            </a:p>
          </p:txBody>
        </p:sp>
        <p:sp>
          <p:nvSpPr>
            <p:cNvPr id="52" name="Freeform 44">
              <a:extLst>
                <a:ext uri="{FF2B5EF4-FFF2-40B4-BE49-F238E27FC236}">
                  <a16:creationId xmlns:a16="http://schemas.microsoft.com/office/drawing/2014/main" id="{AD8EB217-5E40-43A9-8A18-3C690248C14D}"/>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8574" tIns="34287" rIns="68574" bIns="34287"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05050"/>
                </a:solidFill>
                <a:effectLst/>
                <a:uLnTx/>
                <a:uFillTx/>
                <a:latin typeface="Segoe UI"/>
                <a:ea typeface="+mn-ea"/>
                <a:cs typeface="+mn-cs"/>
              </a:endParaRPr>
            </a:p>
          </p:txBody>
        </p:sp>
      </p:grpSp>
      <p:sp>
        <p:nvSpPr>
          <p:cNvPr id="37" name="TextBox 36">
            <a:extLst>
              <a:ext uri="{FF2B5EF4-FFF2-40B4-BE49-F238E27FC236}">
                <a16:creationId xmlns:a16="http://schemas.microsoft.com/office/drawing/2014/main" id="{43E1788E-01B0-4E13-ADF8-55D4AEDF9B64}"/>
              </a:ext>
            </a:extLst>
          </p:cNvPr>
          <p:cNvSpPr txBox="1"/>
          <p:nvPr/>
        </p:nvSpPr>
        <p:spPr>
          <a:xfrm>
            <a:off x="197975" y="6705320"/>
            <a:ext cx="3594096"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panose="020B0502040204020203" pitchFamily="34" charset="0"/>
                <a:ea typeface="+mn-ea"/>
                <a:cs typeface="Segoe UI Light" panose="020B0502040204020203" pitchFamily="34" charset="0"/>
              </a:rPr>
              <a:t>*VS and VS Code only support C#; Maven only supports Java</a:t>
            </a:r>
          </a:p>
        </p:txBody>
      </p:sp>
      <p:grpSp>
        <p:nvGrpSpPr>
          <p:cNvPr id="7" name="Group 6">
            <a:extLst>
              <a:ext uri="{FF2B5EF4-FFF2-40B4-BE49-F238E27FC236}">
                <a16:creationId xmlns:a16="http://schemas.microsoft.com/office/drawing/2014/main" id="{532F34C4-7A5D-4D38-AE37-038BFF4756E3}"/>
              </a:ext>
            </a:extLst>
          </p:cNvPr>
          <p:cNvGrpSpPr/>
          <p:nvPr/>
        </p:nvGrpSpPr>
        <p:grpSpPr>
          <a:xfrm>
            <a:off x="6186928" y="3486858"/>
            <a:ext cx="5698062" cy="891683"/>
            <a:chOff x="6186928" y="3486858"/>
            <a:chExt cx="5698062" cy="891683"/>
          </a:xfrm>
        </p:grpSpPr>
        <p:cxnSp>
          <p:nvCxnSpPr>
            <p:cNvPr id="60" name="Straight Connector 59">
              <a:extLst>
                <a:ext uri="{FF2B5EF4-FFF2-40B4-BE49-F238E27FC236}">
                  <a16:creationId xmlns:a16="http://schemas.microsoft.com/office/drawing/2014/main" id="{ACA190F3-3F5F-4AC0-8026-B0A0004D7520}"/>
                </a:ext>
              </a:extLst>
            </p:cNvPr>
            <p:cNvCxnSpPr/>
            <p:nvPr/>
          </p:nvCxnSpPr>
          <p:spPr>
            <a:xfrm>
              <a:off x="7449029" y="3505430"/>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88A4E6E2-9F73-4D7D-ADF3-24B062291050}"/>
                </a:ext>
              </a:extLst>
            </p:cNvPr>
            <p:cNvSpPr txBox="1"/>
            <p:nvPr/>
          </p:nvSpPr>
          <p:spPr>
            <a:xfrm>
              <a:off x="7587310" y="351379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rite stateful functions in a serverless environment</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implify complex, stateful coordination problem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dd the extension to enable advanced scenarios</a:t>
              </a:r>
            </a:p>
          </p:txBody>
        </p:sp>
        <p:sp>
          <p:nvSpPr>
            <p:cNvPr id="62" name="TextBox 61">
              <a:extLst>
                <a:ext uri="{FF2B5EF4-FFF2-40B4-BE49-F238E27FC236}">
                  <a16:creationId xmlns:a16="http://schemas.microsoft.com/office/drawing/2014/main" id="{991AAE2C-C1B5-493E-9EFF-2C0365278FE9}"/>
                </a:ext>
              </a:extLst>
            </p:cNvPr>
            <p:cNvSpPr txBox="1"/>
            <p:nvPr/>
          </p:nvSpPr>
          <p:spPr>
            <a:xfrm>
              <a:off x="6186928" y="3892254"/>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Durable Functions</a:t>
              </a:r>
            </a:p>
          </p:txBody>
        </p:sp>
        <p:sp>
          <p:nvSpPr>
            <p:cNvPr id="29" name="Freeform 84">
              <a:extLst>
                <a:ext uri="{FF2B5EF4-FFF2-40B4-BE49-F238E27FC236}">
                  <a16:creationId xmlns:a16="http://schemas.microsoft.com/office/drawing/2014/main" id="{0E133078-BCBD-4F1A-862E-151AD078655A}"/>
                </a:ext>
              </a:extLst>
            </p:cNvPr>
            <p:cNvSpPr>
              <a:spLocks noChangeAspect="1" noEditPoints="1"/>
            </p:cNvSpPr>
            <p:nvPr/>
          </p:nvSpPr>
          <p:spPr bwMode="auto">
            <a:xfrm>
              <a:off x="6626206" y="3486858"/>
              <a:ext cx="360363" cy="355600"/>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51605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678" y="5855952"/>
            <a:ext cx="88107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65046" y="5842260"/>
            <a:ext cx="1656386" cy="627737"/>
          </a:xfrm>
          <a:prstGeom prst="rect">
            <a:avLst/>
          </a:prstGeom>
          <a:noFill/>
        </p:spPr>
        <p:txBody>
          <a:bodyPr wrap="none" lIns="182802" tIns="146241" rIns="182802" bIns="146241" rtlCol="0">
            <a:spAutoFit/>
          </a:bodyPr>
          <a:lstStyle/>
          <a:p>
            <a:pPr marL="0" marR="0" lvl="0" indent="0" algn="l" defTabSz="913873"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solidFill>
                  <a:srgbClr val="E7E6E6">
                    <a:lumMod val="75000"/>
                  </a:srgbClr>
                </a:solidFill>
                <a:effectLst/>
                <a:uLnTx/>
                <a:uFillTx/>
                <a:latin typeface="Segoe UI"/>
                <a:ea typeface="+mn-ea"/>
                <a:cs typeface="+mn-cs"/>
              </a:rPr>
              <a:t>Managed</a:t>
            </a:r>
          </a:p>
        </p:txBody>
      </p:sp>
      <p:sp>
        <p:nvSpPr>
          <p:cNvPr id="28" name="TextBox 27"/>
          <p:cNvSpPr txBox="1"/>
          <p:nvPr/>
        </p:nvSpPr>
        <p:spPr>
          <a:xfrm>
            <a:off x="5034357" y="5842260"/>
            <a:ext cx="939598" cy="634260"/>
          </a:xfrm>
          <a:prstGeom prst="rect">
            <a:avLst/>
          </a:prstGeom>
          <a:noFill/>
        </p:spPr>
        <p:txBody>
          <a:bodyPr wrap="none" lIns="182802" tIns="146241" rIns="182802" bIns="146241" rtlCol="0">
            <a:spAutoFit/>
          </a:bodyPr>
          <a:lstStyle/>
          <a:p>
            <a:pPr marL="0" marR="0" lvl="0" indent="0" algn="l" defTabSz="913873"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5522" y="5842260"/>
            <a:ext cx="2134383" cy="634260"/>
          </a:xfrm>
          <a:prstGeom prst="rect">
            <a:avLst/>
          </a:prstGeom>
          <a:noFill/>
        </p:spPr>
        <p:txBody>
          <a:bodyPr wrap="none" lIns="182802" tIns="146241" rIns="182802" bIns="146241" rtlCol="0">
            <a:spAutoFit/>
          </a:bodyPr>
          <a:lstStyle/>
          <a:p>
            <a:pPr marL="0" marR="0" lvl="0" indent="0" algn="l" defTabSz="913873"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678" y="5855952"/>
            <a:ext cx="11989321"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34816" y="5768056"/>
            <a:ext cx="175796" cy="175796"/>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416259" y="5768056"/>
            <a:ext cx="175796" cy="175796"/>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194746" y="5768056"/>
            <a:ext cx="175796" cy="175796"/>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973234" y="5768056"/>
            <a:ext cx="175796" cy="175796"/>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10012265" y="5838844"/>
            <a:ext cx="2236247" cy="756451"/>
          </a:xfrm>
          <a:prstGeom prst="rect">
            <a:avLst/>
          </a:prstGeom>
          <a:noFill/>
        </p:spPr>
        <p:txBody>
          <a:bodyPr wrap="none" lIns="182802" tIns="146241" rIns="182802" bIns="146241" rtlCol="0">
            <a:spAutoFit/>
          </a:bodyPr>
          <a:lstStyle/>
          <a:p>
            <a:pPr marL="0" marR="0" lvl="0" indent="0" algn="l" defTabSz="913873" rtl="0" eaLnBrk="1" fontAlgn="auto" latinLnBrk="0" hangingPunct="1">
              <a:lnSpc>
                <a:spcPct val="90000"/>
              </a:lnSpc>
              <a:spcBef>
                <a:spcPts val="0"/>
              </a:spcBef>
              <a:spcAft>
                <a:spcPts val="600"/>
              </a:spcAft>
              <a:buClrTx/>
              <a:buSzTx/>
              <a:buFontTx/>
              <a:buNone/>
              <a:tabLst/>
              <a:defRPr/>
            </a:pPr>
            <a:r>
              <a:rPr kumimoji="0" lang="en-US" sz="3264"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810124" y="2160644"/>
            <a:ext cx="2793630" cy="1873378"/>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56509" y="2545027"/>
            <a:ext cx="1340292" cy="1340292"/>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374833" y="2545027"/>
            <a:ext cx="1340292" cy="1340292"/>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314512" y="3190184"/>
            <a:ext cx="1207204"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897179" y="3190184"/>
            <a:ext cx="1207204"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3044377" y="1414886"/>
            <a:ext cx="6163586" cy="408017"/>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913873"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2000"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20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661134" y="2601753"/>
            <a:ext cx="163556" cy="262372"/>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270562" y="2382425"/>
            <a:ext cx="163556" cy="262372"/>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418369" y="3167649"/>
            <a:ext cx="163556" cy="262372"/>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6027795" y="3063845"/>
            <a:ext cx="163556" cy="262372"/>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792928" y="3487432"/>
            <a:ext cx="163556" cy="262372"/>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603738" y="2941626"/>
            <a:ext cx="163556" cy="262372"/>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147870" y="3083937"/>
            <a:ext cx="163556" cy="262372"/>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6004354" y="3628069"/>
            <a:ext cx="163556" cy="262372"/>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117002" y="3579515"/>
            <a:ext cx="163556" cy="262372"/>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637408" y="4398512"/>
            <a:ext cx="760339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3264"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architecture for next gen apps </a:t>
            </a:r>
          </a:p>
        </p:txBody>
      </p:sp>
      <p:sp>
        <p:nvSpPr>
          <p:cNvPr id="120" name="Right Brace 119">
            <a:extLst>
              <a:ext uri="{FF2B5EF4-FFF2-40B4-BE49-F238E27FC236}">
                <a16:creationId xmlns:a16="http://schemas.microsoft.com/office/drawing/2014/main" id="{2B999B2A-9948-42E0-84F7-24A27A24B679}"/>
              </a:ext>
            </a:extLst>
          </p:cNvPr>
          <p:cNvSpPr/>
          <p:nvPr/>
        </p:nvSpPr>
        <p:spPr>
          <a:xfrm rot="5400000">
            <a:off x="9592663" y="4164359"/>
            <a:ext cx="245956" cy="4708877"/>
          </a:xfrm>
          <a:prstGeom prst="rightBrace">
            <a:avLst>
              <a:gd name="adj1" fmla="val 8333"/>
              <a:gd name="adj2" fmla="val 49410"/>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1" name="TextBox 120">
            <a:extLst>
              <a:ext uri="{FF2B5EF4-FFF2-40B4-BE49-F238E27FC236}">
                <a16:creationId xmlns:a16="http://schemas.microsoft.com/office/drawing/2014/main" id="{2814DC94-A821-45B7-B402-33A12549BCE4}"/>
              </a:ext>
            </a:extLst>
          </p:cNvPr>
          <p:cNvSpPr txBox="1"/>
          <p:nvPr/>
        </p:nvSpPr>
        <p:spPr>
          <a:xfrm>
            <a:off x="9207963" y="6521361"/>
            <a:ext cx="1019994" cy="627737"/>
          </a:xfrm>
          <a:prstGeom prst="rect">
            <a:avLst/>
          </a:prstGeom>
          <a:noFill/>
        </p:spPr>
        <p:txBody>
          <a:bodyPr wrap="none" lIns="182802" tIns="146241" rIns="182802" bIns="146241" rtlCol="0">
            <a:spAutoFit/>
          </a:bodyPr>
          <a:lstStyle/>
          <a:p>
            <a:pPr marL="0" marR="0" lvl="0" indent="0" algn="l" defTabSz="913873" rtl="0" eaLnBrk="1" fontAlgn="auto" latinLnBrk="0" hangingPunct="1">
              <a:lnSpc>
                <a:spcPct val="90000"/>
              </a:lnSpc>
              <a:spcBef>
                <a:spcPts val="0"/>
              </a:spcBef>
              <a:spcAft>
                <a:spcPts val="600"/>
              </a:spcAft>
              <a:buClrTx/>
              <a:buSzTx/>
              <a:buFontTx/>
              <a:buNone/>
              <a:tabLst/>
              <a:defRPr/>
            </a:pPr>
            <a:r>
              <a:rPr kumimoji="0" lang="en-US" sz="2400" i="0" u="none" strike="noStrike" kern="0" cap="none" spc="0" normalizeH="0" baseline="0" noProof="0">
                <a:ln>
                  <a:noFill/>
                </a:ln>
                <a:solidFill>
                  <a:srgbClr val="E7E6E6">
                    <a:lumMod val="75000"/>
                  </a:srgbClr>
                </a:solidFill>
                <a:effectLst/>
                <a:uLnTx/>
                <a:uFillTx/>
                <a:latin typeface="Segoe UI"/>
                <a:ea typeface="+mn-ea"/>
                <a:cs typeface="+mn-cs"/>
              </a:rPr>
              <a:t>PaaS</a:t>
            </a:r>
          </a:p>
        </p:txBody>
      </p:sp>
    </p:spTree>
    <p:extLst>
      <p:ext uri="{BB962C8B-B14F-4D97-AF65-F5344CB8AC3E}">
        <p14:creationId xmlns:p14="http://schemas.microsoft.com/office/powerpoint/2010/main" val="29654357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88895E-6 1.98366E-6 L 4.88895E-6 0.04357 " pathEditMode="relative" rAng="0" ptsTypes="AA">
                                      <p:cBhvr>
                                        <p:cTn id="17" dur="500" spd="-100000" fill="hold"/>
                                        <p:tgtEl>
                                          <p:spTgt spid="72"/>
                                        </p:tgtEl>
                                        <p:attrNameLst>
                                          <p:attrName>ppt_x</p:attrName>
                                          <p:attrName>ppt_y</p:attrName>
                                        </p:attrNameLst>
                                      </p:cBhvr>
                                      <p:rCtr x="0" y="2179"/>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3.17079E-6 2.51021E-6 L 0.03677 2.51021E-6 " pathEditMode="relative" rAng="0" ptsTypes="AA">
                                      <p:cBhvr>
                                        <p:cTn id="73" dur="500" spd="-100000" fill="hold"/>
                                        <p:tgtEl>
                                          <p:spTgt spid="118"/>
                                        </p:tgtEl>
                                        <p:attrNameLst>
                                          <p:attrName>ppt_x</p:attrName>
                                          <p:attrName>ppt_y</p:attrName>
                                        </p:attrNameLst>
                                      </p:cBhvr>
                                      <p:rCtr x="1838" y="0"/>
                                    </p:animMotion>
                                  </p:childTnLst>
                                </p:cTn>
                              </p:par>
                              <p:par>
                                <p:cTn id="74" presetID="10" presetClass="entr" presetSubtype="0" fill="hold" grpId="0" nodeType="withEffect">
                                  <p:stCondLst>
                                    <p:cond delay="350"/>
                                  </p:stCondLst>
                                  <p:childTnLst>
                                    <p:set>
                                      <p:cBhvr>
                                        <p:cTn id="75" dur="1" fill="hold">
                                          <p:stCondLst>
                                            <p:cond delay="0"/>
                                          </p:stCondLst>
                                        </p:cTn>
                                        <p:tgtEl>
                                          <p:spTgt spid="121"/>
                                        </p:tgtEl>
                                        <p:attrNameLst>
                                          <p:attrName>style.visibility</p:attrName>
                                        </p:attrNameLst>
                                      </p:cBhvr>
                                      <p:to>
                                        <p:strVal val="visible"/>
                                      </p:to>
                                    </p:set>
                                    <p:animEffect transition="in" filter="fade">
                                      <p:cBhvr>
                                        <p:cTn id="76" dur="500"/>
                                        <p:tgtEl>
                                          <p:spTgt spid="121"/>
                                        </p:tgtEl>
                                      </p:cBhvr>
                                    </p:animEffect>
                                  </p:childTnLst>
                                </p:cTn>
                              </p:par>
                              <p:par>
                                <p:cTn id="77" presetID="10" presetClass="entr" presetSubtype="0" fill="hold" grpId="0" nodeType="withEffect">
                                  <p:stCondLst>
                                    <p:cond delay="350"/>
                                  </p:stCondLst>
                                  <p:childTnLst>
                                    <p:set>
                                      <p:cBhvr>
                                        <p:cTn id="78" dur="1" fill="hold">
                                          <p:stCondLst>
                                            <p:cond delay="0"/>
                                          </p:stCondLst>
                                        </p:cTn>
                                        <p:tgtEl>
                                          <p:spTgt spid="120"/>
                                        </p:tgtEl>
                                        <p:attrNameLst>
                                          <p:attrName>style.visibility</p:attrName>
                                        </p:attrNameLst>
                                      </p:cBhvr>
                                      <p:to>
                                        <p:strVal val="visible"/>
                                      </p:to>
                                    </p:set>
                                    <p:animEffect transition="in" filter="fade">
                                      <p:cBhvr>
                                        <p:cTn id="79"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P spid="120" grpId="0" animBg="1"/>
      <p:bldP spid="12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94E8C73-F2A5-4755-A3EC-B19EA8020E26}"/>
              </a:ext>
            </a:extLst>
          </p:cNvPr>
          <p:cNvSpPr>
            <a:spLocks noGrp="1"/>
          </p:cNvSpPr>
          <p:nvPr>
            <p:ph type="title"/>
          </p:nvPr>
        </p:nvSpPr>
        <p:spPr/>
        <p:txBody>
          <a:bodyPr/>
          <a:lstStyle/>
          <a:p>
            <a:r>
              <a:rPr lang="en-US" dirty="0"/>
              <a:t>Functions everywhere</a:t>
            </a:r>
          </a:p>
        </p:txBody>
      </p:sp>
      <p:sp>
        <p:nvSpPr>
          <p:cNvPr id="77" name="Rectangle 76">
            <a:extLst>
              <a:ext uri="{FF2B5EF4-FFF2-40B4-BE49-F238E27FC236}">
                <a16:creationId xmlns:a16="http://schemas.microsoft.com/office/drawing/2014/main" id="{7E5969E6-40BB-421F-A203-77E45DEC7690}"/>
              </a:ext>
            </a:extLst>
          </p:cNvPr>
          <p:cNvSpPr/>
          <p:nvPr/>
        </p:nvSpPr>
        <p:spPr bwMode="auto">
          <a:xfrm>
            <a:off x="598945" y="3699433"/>
            <a:ext cx="1304447" cy="932603"/>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solidFill>
                  <a:sysClr val="windowText" lastClr="000000"/>
                </a:solidFill>
                <a:latin typeface="Segoe UI"/>
              </a:rPr>
              <a:t>Platform</a:t>
            </a:r>
          </a:p>
        </p:txBody>
      </p:sp>
      <p:sp>
        <p:nvSpPr>
          <p:cNvPr id="78" name="Rectangle 77">
            <a:extLst>
              <a:ext uri="{FF2B5EF4-FFF2-40B4-BE49-F238E27FC236}">
                <a16:creationId xmlns:a16="http://schemas.microsoft.com/office/drawing/2014/main" id="{C935AC29-D735-4B57-9978-EC3777496FFD}"/>
              </a:ext>
            </a:extLst>
          </p:cNvPr>
          <p:cNvSpPr/>
          <p:nvPr/>
        </p:nvSpPr>
        <p:spPr bwMode="auto">
          <a:xfrm>
            <a:off x="598945" y="4632037"/>
            <a:ext cx="1304447" cy="932603"/>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solidFill>
                  <a:sysClr val="windowText" lastClr="000000"/>
                </a:solidFill>
                <a:latin typeface="Segoe UI"/>
              </a:rPr>
              <a:t>Application delivery</a:t>
            </a:r>
          </a:p>
        </p:txBody>
      </p:sp>
      <p:sp>
        <p:nvSpPr>
          <p:cNvPr id="80" name="Rectangle 79">
            <a:extLst>
              <a:ext uri="{FF2B5EF4-FFF2-40B4-BE49-F238E27FC236}">
                <a16:creationId xmlns:a16="http://schemas.microsoft.com/office/drawing/2014/main" id="{4BC4B803-2C13-4ACB-BA62-53EB5939F838}"/>
              </a:ext>
            </a:extLst>
          </p:cNvPr>
          <p:cNvSpPr/>
          <p:nvPr/>
        </p:nvSpPr>
        <p:spPr bwMode="auto">
          <a:xfrm>
            <a:off x="599422" y="5564640"/>
            <a:ext cx="1304447" cy="932603"/>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solidFill>
                  <a:sysClr val="windowText" lastClr="000000"/>
                </a:solidFill>
                <a:latin typeface="Segoe UI"/>
              </a:rPr>
              <a:t>Operating system</a:t>
            </a:r>
          </a:p>
        </p:txBody>
      </p:sp>
      <p:grpSp>
        <p:nvGrpSpPr>
          <p:cNvPr id="385" name="Group 384">
            <a:extLst>
              <a:ext uri="{FF2B5EF4-FFF2-40B4-BE49-F238E27FC236}">
                <a16:creationId xmlns:a16="http://schemas.microsoft.com/office/drawing/2014/main" id="{31C73A90-BA06-4C9A-91A8-47C0949BA20B}"/>
              </a:ext>
            </a:extLst>
          </p:cNvPr>
          <p:cNvGrpSpPr/>
          <p:nvPr/>
        </p:nvGrpSpPr>
        <p:grpSpPr>
          <a:xfrm>
            <a:off x="4786360" y="2999980"/>
            <a:ext cx="1318515" cy="3497263"/>
            <a:chOff x="4692071" y="2941425"/>
            <a:chExt cx="1292779" cy="3429000"/>
          </a:xfrm>
        </p:grpSpPr>
        <p:sp>
          <p:nvSpPr>
            <p:cNvPr id="104" name="Rectangle 103">
              <a:extLst>
                <a:ext uri="{FF2B5EF4-FFF2-40B4-BE49-F238E27FC236}">
                  <a16:creationId xmlns:a16="http://schemas.microsoft.com/office/drawing/2014/main" id="{3157D346-725D-4D8F-A127-CED8C0799390}"/>
                </a:ext>
              </a:extLst>
            </p:cNvPr>
            <p:cNvSpPr/>
            <p:nvPr/>
          </p:nvSpPr>
          <p:spPr bwMode="auto">
            <a:xfrm>
              <a:off x="4696266"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411C7BC1-78D7-4424-94D3-E3155A54636D}"/>
                </a:ext>
              </a:extLst>
            </p:cNvPr>
            <p:cNvSpPr/>
            <p:nvPr/>
          </p:nvSpPr>
          <p:spPr bwMode="auto">
            <a:xfrm>
              <a:off x="4696266"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5E012833-6171-4A8C-BBCF-7480A07BC0D8}"/>
                </a:ext>
              </a:extLst>
            </p:cNvPr>
            <p:cNvSpPr/>
            <p:nvPr/>
          </p:nvSpPr>
          <p:spPr bwMode="auto">
            <a:xfrm>
              <a:off x="4696734"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751CD0BA-23C8-45B8-AE1C-03293F51744F}"/>
                </a:ext>
              </a:extLst>
            </p:cNvPr>
            <p:cNvSpPr/>
            <p:nvPr/>
          </p:nvSpPr>
          <p:spPr bwMode="auto">
            <a:xfrm>
              <a:off x="4696266" y="2941425"/>
              <a:ext cx="1278986" cy="6858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gradFill>
                    <a:gsLst>
                      <a:gs pos="40075">
                        <a:srgbClr val="FFFFFF"/>
                      </a:gs>
                      <a:gs pos="30000">
                        <a:srgbClr val="FFFFFF"/>
                      </a:gs>
                    </a:gsLst>
                    <a:lin ang="5400000" scaled="0"/>
                  </a:gradFill>
                  <a:latin typeface="Segoe UI"/>
                </a:rPr>
                <a:t>Azure Functions service</a:t>
              </a:r>
            </a:p>
          </p:txBody>
        </p:sp>
        <p:pic>
          <p:nvPicPr>
            <p:cNvPr id="146" name="Picture 145">
              <a:extLst>
                <a:ext uri="{FF2B5EF4-FFF2-40B4-BE49-F238E27FC236}">
                  <a16:creationId xmlns:a16="http://schemas.microsoft.com/office/drawing/2014/main" id="{3A8897E8-22A3-4797-81A7-71C4FF1E0A69}"/>
                </a:ext>
              </a:extLst>
            </p:cNvPr>
            <p:cNvPicPr>
              <a:picLocks noChangeAspect="1"/>
            </p:cNvPicPr>
            <p:nvPr/>
          </p:nvPicPr>
          <p:blipFill>
            <a:blip r:embed="rId2"/>
            <a:stretch>
              <a:fillRect/>
            </a:stretch>
          </p:blipFill>
          <p:spPr>
            <a:xfrm>
              <a:off x="5335225" y="4727607"/>
              <a:ext cx="630295" cy="542436"/>
            </a:xfrm>
            <a:prstGeom prst="rect">
              <a:avLst/>
            </a:prstGeom>
          </p:spPr>
        </p:pic>
        <p:pic>
          <p:nvPicPr>
            <p:cNvPr id="148" name="Graphic 147">
              <a:extLst>
                <a:ext uri="{FF2B5EF4-FFF2-40B4-BE49-F238E27FC236}">
                  <a16:creationId xmlns:a16="http://schemas.microsoft.com/office/drawing/2014/main" id="{A3B029AE-2640-4A47-B87A-1F297DA2856E}"/>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4695732" y="4679078"/>
              <a:ext cx="639493" cy="639493"/>
            </a:xfrm>
            <a:prstGeom prst="rect">
              <a:avLst/>
            </a:prstGeom>
          </p:spPr>
        </p:pic>
        <p:sp>
          <p:nvSpPr>
            <p:cNvPr id="154" name="TextBox 153">
              <a:extLst>
                <a:ext uri="{FF2B5EF4-FFF2-40B4-BE49-F238E27FC236}">
                  <a16:creationId xmlns:a16="http://schemas.microsoft.com/office/drawing/2014/main" id="{B191177F-9CE1-426E-A7E5-03B9A45AEF22}"/>
                </a:ext>
              </a:extLst>
            </p:cNvPr>
            <p:cNvSpPr txBox="1"/>
            <p:nvPr/>
          </p:nvSpPr>
          <p:spPr>
            <a:xfrm>
              <a:off x="4695732" y="5273899"/>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Code or container</a:t>
              </a:r>
            </a:p>
          </p:txBody>
        </p:sp>
        <p:pic>
          <p:nvPicPr>
            <p:cNvPr id="195" name="Graphic 194">
              <a:extLst>
                <a:ext uri="{FF2B5EF4-FFF2-40B4-BE49-F238E27FC236}">
                  <a16:creationId xmlns:a16="http://schemas.microsoft.com/office/drawing/2014/main" id="{560EE330-0ED5-479E-802C-11F3D71D41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4279" y="3826842"/>
              <a:ext cx="508041" cy="508041"/>
            </a:xfrm>
            <a:prstGeom prst="rect">
              <a:avLst/>
            </a:prstGeom>
          </p:spPr>
        </p:pic>
        <p:sp>
          <p:nvSpPr>
            <p:cNvPr id="165" name="TextBox 164">
              <a:extLst>
                <a:ext uri="{FF2B5EF4-FFF2-40B4-BE49-F238E27FC236}">
                  <a16:creationId xmlns:a16="http://schemas.microsoft.com/office/drawing/2014/main" id="{2A6CC6B6-123C-4D49-B948-FB17956BE5A4}"/>
                </a:ext>
              </a:extLst>
            </p:cNvPr>
            <p:cNvSpPr txBox="1"/>
            <p:nvPr/>
          </p:nvSpPr>
          <p:spPr>
            <a:xfrm>
              <a:off x="4704690" y="4340529"/>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App Service plan</a:t>
              </a:r>
            </a:p>
          </p:txBody>
        </p:sp>
        <p:pic>
          <p:nvPicPr>
            <p:cNvPr id="166" name="Graphic 165">
              <a:extLst>
                <a:ext uri="{FF2B5EF4-FFF2-40B4-BE49-F238E27FC236}">
                  <a16:creationId xmlns:a16="http://schemas.microsoft.com/office/drawing/2014/main" id="{22F94C56-FC18-4458-AE0D-B42E536225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37539" y="3820864"/>
              <a:ext cx="548640" cy="548640"/>
            </a:xfrm>
            <a:prstGeom prst="rect">
              <a:avLst/>
            </a:prstGeom>
          </p:spPr>
        </p:pic>
        <p:pic>
          <p:nvPicPr>
            <p:cNvPr id="173" name="Graphic 172">
              <a:extLst>
                <a:ext uri="{FF2B5EF4-FFF2-40B4-BE49-F238E27FC236}">
                  <a16:creationId xmlns:a16="http://schemas.microsoft.com/office/drawing/2014/main" id="{99FDA2DD-C9CD-484C-BB05-440EB0E33B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9443" y="5675100"/>
              <a:ext cx="476250" cy="476250"/>
            </a:xfrm>
            <a:prstGeom prst="rect">
              <a:avLst/>
            </a:prstGeom>
          </p:spPr>
        </p:pic>
        <p:pic>
          <p:nvPicPr>
            <p:cNvPr id="174" name="Graphic 173">
              <a:extLst>
                <a:ext uri="{FF2B5EF4-FFF2-40B4-BE49-F238E27FC236}">
                  <a16:creationId xmlns:a16="http://schemas.microsoft.com/office/drawing/2014/main" id="{301AEEA4-C269-48E5-B871-EABA9CDA4EB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07865" y="5675247"/>
              <a:ext cx="476250" cy="476250"/>
            </a:xfrm>
            <a:prstGeom prst="rect">
              <a:avLst/>
            </a:prstGeom>
          </p:spPr>
        </p:pic>
        <p:sp>
          <p:nvSpPr>
            <p:cNvPr id="186" name="TextBox 185">
              <a:extLst>
                <a:ext uri="{FF2B5EF4-FFF2-40B4-BE49-F238E27FC236}">
                  <a16:creationId xmlns:a16="http://schemas.microsoft.com/office/drawing/2014/main" id="{AA7CDB10-9EDC-4F16-A5F3-BAF75E347694}"/>
                </a:ext>
              </a:extLst>
            </p:cNvPr>
            <p:cNvSpPr txBox="1"/>
            <p:nvPr/>
          </p:nvSpPr>
          <p:spPr>
            <a:xfrm>
              <a:off x="4692071" y="6180019"/>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Windows or Linux</a:t>
              </a:r>
            </a:p>
          </p:txBody>
        </p:sp>
      </p:grpSp>
      <p:grpSp>
        <p:nvGrpSpPr>
          <p:cNvPr id="384" name="Group 383">
            <a:extLst>
              <a:ext uri="{FF2B5EF4-FFF2-40B4-BE49-F238E27FC236}">
                <a16:creationId xmlns:a16="http://schemas.microsoft.com/office/drawing/2014/main" id="{0D4EB2AE-6F2F-435E-9DEB-A761679EFBE6}"/>
              </a:ext>
            </a:extLst>
          </p:cNvPr>
          <p:cNvGrpSpPr/>
          <p:nvPr/>
        </p:nvGrpSpPr>
        <p:grpSpPr>
          <a:xfrm>
            <a:off x="3384916" y="2999980"/>
            <a:ext cx="1315467" cy="3497263"/>
            <a:chOff x="3317981" y="2941425"/>
            <a:chExt cx="1289791" cy="3429000"/>
          </a:xfrm>
        </p:grpSpPr>
        <p:sp>
          <p:nvSpPr>
            <p:cNvPr id="98" name="Rectangle 97">
              <a:extLst>
                <a:ext uri="{FF2B5EF4-FFF2-40B4-BE49-F238E27FC236}">
                  <a16:creationId xmlns:a16="http://schemas.microsoft.com/office/drawing/2014/main" id="{9FA65883-9F52-4ACF-BDFD-460CE6E702B0}"/>
                </a:ext>
              </a:extLst>
            </p:cNvPr>
            <p:cNvSpPr/>
            <p:nvPr/>
          </p:nvSpPr>
          <p:spPr bwMode="auto">
            <a:xfrm>
              <a:off x="3328318"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99" name="Rectangle 98">
              <a:extLst>
                <a:ext uri="{FF2B5EF4-FFF2-40B4-BE49-F238E27FC236}">
                  <a16:creationId xmlns:a16="http://schemas.microsoft.com/office/drawing/2014/main" id="{FBFB8BA9-B6F3-4BCF-8F5A-2393D1090BE1}"/>
                </a:ext>
              </a:extLst>
            </p:cNvPr>
            <p:cNvSpPr/>
            <p:nvPr/>
          </p:nvSpPr>
          <p:spPr bwMode="auto">
            <a:xfrm>
              <a:off x="3328318"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00" name="Rectangle 99">
              <a:extLst>
                <a:ext uri="{FF2B5EF4-FFF2-40B4-BE49-F238E27FC236}">
                  <a16:creationId xmlns:a16="http://schemas.microsoft.com/office/drawing/2014/main" id="{36D9FF20-CC67-4437-A86A-F1AC8C3D4620}"/>
                </a:ext>
              </a:extLst>
            </p:cNvPr>
            <p:cNvSpPr/>
            <p:nvPr/>
          </p:nvSpPr>
          <p:spPr bwMode="auto">
            <a:xfrm>
              <a:off x="3328786"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02" name="Rectangle 101">
              <a:extLst>
                <a:ext uri="{FF2B5EF4-FFF2-40B4-BE49-F238E27FC236}">
                  <a16:creationId xmlns:a16="http://schemas.microsoft.com/office/drawing/2014/main" id="{232D15FF-8E83-48F2-8EAA-3590BFBF6108}"/>
                </a:ext>
              </a:extLst>
            </p:cNvPr>
            <p:cNvSpPr/>
            <p:nvPr/>
          </p:nvSpPr>
          <p:spPr bwMode="auto">
            <a:xfrm>
              <a:off x="3328318" y="2941425"/>
              <a:ext cx="1278986" cy="6858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gradFill>
                    <a:gsLst>
                      <a:gs pos="40075">
                        <a:srgbClr val="FFFFFF"/>
                      </a:gs>
                      <a:gs pos="30000">
                        <a:srgbClr val="FFFFFF"/>
                      </a:gs>
                    </a:gsLst>
                    <a:lin ang="5400000" scaled="0"/>
                  </a:gradFill>
                  <a:latin typeface="Segoe UI"/>
                </a:rPr>
                <a:t>Azure Functions</a:t>
              </a:r>
            </a:p>
            <a:p>
              <a:pPr algn="ctr" defTabSz="951028" fontAlgn="base">
                <a:spcBef>
                  <a:spcPct val="0"/>
                </a:spcBef>
                <a:spcAft>
                  <a:spcPct val="0"/>
                </a:spcAft>
                <a:defRPr/>
              </a:pPr>
              <a:r>
                <a:rPr lang="en-US" sz="1122" dirty="0">
                  <a:gradFill>
                    <a:gsLst>
                      <a:gs pos="40075">
                        <a:srgbClr val="FFFFFF"/>
                      </a:gs>
                      <a:gs pos="30000">
                        <a:srgbClr val="FFFFFF"/>
                      </a:gs>
                    </a:gsLst>
                    <a:lin ang="5400000" scaled="0"/>
                  </a:gradFill>
                  <a:latin typeface="Segoe UI"/>
                </a:rPr>
                <a:t>service</a:t>
              </a:r>
            </a:p>
          </p:txBody>
        </p:sp>
        <p:sp>
          <p:nvSpPr>
            <p:cNvPr id="158" name="TextBox 157">
              <a:extLst>
                <a:ext uri="{FF2B5EF4-FFF2-40B4-BE49-F238E27FC236}">
                  <a16:creationId xmlns:a16="http://schemas.microsoft.com/office/drawing/2014/main" id="{55FF8209-0615-42BA-9995-520CF0032A24}"/>
                </a:ext>
              </a:extLst>
            </p:cNvPr>
            <p:cNvSpPr txBox="1"/>
            <p:nvPr/>
          </p:nvSpPr>
          <p:spPr>
            <a:xfrm>
              <a:off x="3324126" y="5265619"/>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Code</a:t>
              </a:r>
            </a:p>
          </p:txBody>
        </p:sp>
        <p:pic>
          <p:nvPicPr>
            <p:cNvPr id="159" name="Graphic 158">
              <a:extLst>
                <a:ext uri="{FF2B5EF4-FFF2-40B4-BE49-F238E27FC236}">
                  <a16:creationId xmlns:a16="http://schemas.microsoft.com/office/drawing/2014/main" id="{D390A888-2766-4D34-8F29-B7FE0FC0483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3638882" y="4679077"/>
              <a:ext cx="639493" cy="639493"/>
            </a:xfrm>
            <a:prstGeom prst="rect">
              <a:avLst/>
            </a:prstGeom>
          </p:spPr>
        </p:pic>
        <p:pic>
          <p:nvPicPr>
            <p:cNvPr id="167" name="Graphic 166">
              <a:extLst>
                <a:ext uri="{FF2B5EF4-FFF2-40B4-BE49-F238E27FC236}">
                  <a16:creationId xmlns:a16="http://schemas.microsoft.com/office/drawing/2014/main" id="{D1641EDD-059C-4508-ABA7-DF1DACC598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4308" y="3826842"/>
              <a:ext cx="548640" cy="548640"/>
            </a:xfrm>
            <a:prstGeom prst="rect">
              <a:avLst/>
            </a:prstGeom>
          </p:spPr>
        </p:pic>
        <p:sp>
          <p:nvSpPr>
            <p:cNvPr id="168" name="TextBox 167">
              <a:extLst>
                <a:ext uri="{FF2B5EF4-FFF2-40B4-BE49-F238E27FC236}">
                  <a16:creationId xmlns:a16="http://schemas.microsoft.com/office/drawing/2014/main" id="{90812C70-2D37-41D2-92BD-3B131608CBB5}"/>
                </a:ext>
              </a:extLst>
            </p:cNvPr>
            <p:cNvSpPr txBox="1"/>
            <p:nvPr/>
          </p:nvSpPr>
          <p:spPr>
            <a:xfrm>
              <a:off x="3318687" y="4348354"/>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Consumption plan</a:t>
              </a:r>
            </a:p>
          </p:txBody>
        </p:sp>
        <p:pic>
          <p:nvPicPr>
            <p:cNvPr id="175" name="Graphic 174">
              <a:extLst>
                <a:ext uri="{FF2B5EF4-FFF2-40B4-BE49-F238E27FC236}">
                  <a16:creationId xmlns:a16="http://schemas.microsoft.com/office/drawing/2014/main" id="{5DCA56A1-8591-4DE4-9D15-CE65D8DD62E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10770" y="5681074"/>
              <a:ext cx="476250" cy="476250"/>
            </a:xfrm>
            <a:prstGeom prst="rect">
              <a:avLst/>
            </a:prstGeom>
          </p:spPr>
        </p:pic>
        <p:pic>
          <p:nvPicPr>
            <p:cNvPr id="176" name="Graphic 175">
              <a:extLst>
                <a:ext uri="{FF2B5EF4-FFF2-40B4-BE49-F238E27FC236}">
                  <a16:creationId xmlns:a16="http://schemas.microsoft.com/office/drawing/2014/main" id="{996861BD-287E-4182-B1A5-1DECE46E74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49693" y="5681074"/>
              <a:ext cx="476250" cy="476250"/>
            </a:xfrm>
            <a:prstGeom prst="rect">
              <a:avLst/>
            </a:prstGeom>
          </p:spPr>
        </p:pic>
        <p:sp>
          <p:nvSpPr>
            <p:cNvPr id="185" name="TextBox 184">
              <a:extLst>
                <a:ext uri="{FF2B5EF4-FFF2-40B4-BE49-F238E27FC236}">
                  <a16:creationId xmlns:a16="http://schemas.microsoft.com/office/drawing/2014/main" id="{22FE1AC8-7E0D-4681-A775-8AD74DC04C68}"/>
                </a:ext>
              </a:extLst>
            </p:cNvPr>
            <p:cNvSpPr txBox="1"/>
            <p:nvPr/>
          </p:nvSpPr>
          <p:spPr>
            <a:xfrm>
              <a:off x="3317981" y="6180019"/>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Windows or Linux</a:t>
              </a:r>
            </a:p>
          </p:txBody>
        </p:sp>
      </p:grpSp>
      <p:grpSp>
        <p:nvGrpSpPr>
          <p:cNvPr id="389" name="Group 388">
            <a:extLst>
              <a:ext uri="{FF2B5EF4-FFF2-40B4-BE49-F238E27FC236}">
                <a16:creationId xmlns:a16="http://schemas.microsoft.com/office/drawing/2014/main" id="{1D2102A6-9407-46FA-B9F5-E7BAEA857482}"/>
              </a:ext>
            </a:extLst>
          </p:cNvPr>
          <p:cNvGrpSpPr/>
          <p:nvPr/>
        </p:nvGrpSpPr>
        <p:grpSpPr>
          <a:xfrm>
            <a:off x="10380791" y="2999980"/>
            <a:ext cx="1315028" cy="3497263"/>
            <a:chOff x="10177306" y="2941425"/>
            <a:chExt cx="1289360" cy="3429000"/>
          </a:xfrm>
        </p:grpSpPr>
        <p:sp>
          <p:nvSpPr>
            <p:cNvPr id="128" name="Rectangle 127">
              <a:extLst>
                <a:ext uri="{FF2B5EF4-FFF2-40B4-BE49-F238E27FC236}">
                  <a16:creationId xmlns:a16="http://schemas.microsoft.com/office/drawing/2014/main" id="{738BFFF1-B6BF-430B-9550-B2D4E62D6467}"/>
                </a:ext>
              </a:extLst>
            </p:cNvPr>
            <p:cNvSpPr/>
            <p:nvPr/>
          </p:nvSpPr>
          <p:spPr bwMode="auto">
            <a:xfrm>
              <a:off x="10182119"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29" name="Rectangle 128">
              <a:extLst>
                <a:ext uri="{FF2B5EF4-FFF2-40B4-BE49-F238E27FC236}">
                  <a16:creationId xmlns:a16="http://schemas.microsoft.com/office/drawing/2014/main" id="{3EED81F5-D73A-46EF-B151-4BEE4F144894}"/>
                </a:ext>
              </a:extLst>
            </p:cNvPr>
            <p:cNvSpPr/>
            <p:nvPr/>
          </p:nvSpPr>
          <p:spPr bwMode="auto">
            <a:xfrm>
              <a:off x="10182119"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30" name="Rectangle 129">
              <a:extLst>
                <a:ext uri="{FF2B5EF4-FFF2-40B4-BE49-F238E27FC236}">
                  <a16:creationId xmlns:a16="http://schemas.microsoft.com/office/drawing/2014/main" id="{04CD6D35-13FD-4AEB-BC3C-3AA481895FA7}"/>
                </a:ext>
              </a:extLst>
            </p:cNvPr>
            <p:cNvSpPr/>
            <p:nvPr/>
          </p:nvSpPr>
          <p:spPr bwMode="auto">
            <a:xfrm>
              <a:off x="10182587"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32" name="Rectangle 131">
              <a:extLst>
                <a:ext uri="{FF2B5EF4-FFF2-40B4-BE49-F238E27FC236}">
                  <a16:creationId xmlns:a16="http://schemas.microsoft.com/office/drawing/2014/main" id="{0BB2FFEE-1B51-4AE3-B3A1-33EF06DF2F1F}"/>
                </a:ext>
              </a:extLst>
            </p:cNvPr>
            <p:cNvSpPr/>
            <p:nvPr/>
          </p:nvSpPr>
          <p:spPr bwMode="auto">
            <a:xfrm>
              <a:off x="10182119" y="2941425"/>
              <a:ext cx="1278986" cy="68580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gradFill>
                    <a:gsLst>
                      <a:gs pos="40075">
                        <a:srgbClr val="FFFFFF"/>
                      </a:gs>
                      <a:gs pos="30000">
                        <a:srgbClr val="FFFFFF"/>
                      </a:gs>
                    </a:gsLst>
                    <a:lin ang="5400000" scaled="0"/>
                  </a:gradFill>
                  <a:latin typeface="Segoe UI"/>
                </a:rPr>
                <a:t>On-premises</a:t>
              </a:r>
            </a:p>
          </p:txBody>
        </p:sp>
        <p:sp>
          <p:nvSpPr>
            <p:cNvPr id="160" name="TextBox 159">
              <a:extLst>
                <a:ext uri="{FF2B5EF4-FFF2-40B4-BE49-F238E27FC236}">
                  <a16:creationId xmlns:a16="http://schemas.microsoft.com/office/drawing/2014/main" id="{EB15942F-6782-4BA8-A879-C7218770C9C5}"/>
                </a:ext>
              </a:extLst>
            </p:cNvPr>
            <p:cNvSpPr txBox="1"/>
            <p:nvPr/>
          </p:nvSpPr>
          <p:spPr>
            <a:xfrm>
              <a:off x="10186506" y="5265619"/>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Code</a:t>
              </a:r>
            </a:p>
          </p:txBody>
        </p:sp>
        <p:pic>
          <p:nvPicPr>
            <p:cNvPr id="161" name="Graphic 160">
              <a:extLst>
                <a:ext uri="{FF2B5EF4-FFF2-40B4-BE49-F238E27FC236}">
                  <a16:creationId xmlns:a16="http://schemas.microsoft.com/office/drawing/2014/main" id="{F937AEBF-FDA6-4251-AC51-2F096B68CAC7}"/>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10501262" y="4679077"/>
              <a:ext cx="639493" cy="639493"/>
            </a:xfrm>
            <a:prstGeom prst="rect">
              <a:avLst/>
            </a:prstGeom>
          </p:spPr>
        </p:pic>
        <p:sp>
          <p:nvSpPr>
            <p:cNvPr id="163" name="TextBox 162">
              <a:extLst>
                <a:ext uri="{FF2B5EF4-FFF2-40B4-BE49-F238E27FC236}">
                  <a16:creationId xmlns:a16="http://schemas.microsoft.com/office/drawing/2014/main" id="{73B72344-225C-4FDF-971B-ACB8F5F8D623}"/>
                </a:ext>
              </a:extLst>
            </p:cNvPr>
            <p:cNvSpPr txBox="1"/>
            <p:nvPr/>
          </p:nvSpPr>
          <p:spPr>
            <a:xfrm>
              <a:off x="10178480" y="4345546"/>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App Service on Azure Stack</a:t>
              </a:r>
            </a:p>
          </p:txBody>
        </p:sp>
        <p:pic>
          <p:nvPicPr>
            <p:cNvPr id="172" name="Graphic 171">
              <a:extLst>
                <a:ext uri="{FF2B5EF4-FFF2-40B4-BE49-F238E27FC236}">
                  <a16:creationId xmlns:a16="http://schemas.microsoft.com/office/drawing/2014/main" id="{51E29701-C22D-4BC8-B7D1-D5B9C22BAF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88461" y="5675100"/>
              <a:ext cx="476250" cy="476250"/>
            </a:xfrm>
            <a:prstGeom prst="rect">
              <a:avLst/>
            </a:prstGeom>
          </p:spPr>
        </p:pic>
        <p:sp>
          <p:nvSpPr>
            <p:cNvPr id="190" name="TextBox 189">
              <a:extLst>
                <a:ext uri="{FF2B5EF4-FFF2-40B4-BE49-F238E27FC236}">
                  <a16:creationId xmlns:a16="http://schemas.microsoft.com/office/drawing/2014/main" id="{ED3A0554-CB5F-4C12-B5A8-939324DBB606}"/>
                </a:ext>
              </a:extLst>
            </p:cNvPr>
            <p:cNvSpPr txBox="1"/>
            <p:nvPr/>
          </p:nvSpPr>
          <p:spPr>
            <a:xfrm>
              <a:off x="10177306" y="6171414"/>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Windows</a:t>
              </a:r>
            </a:p>
          </p:txBody>
        </p:sp>
        <p:pic>
          <p:nvPicPr>
            <p:cNvPr id="197" name="Graphic 196">
              <a:extLst>
                <a:ext uri="{FF2B5EF4-FFF2-40B4-BE49-F238E27FC236}">
                  <a16:creationId xmlns:a16="http://schemas.microsoft.com/office/drawing/2014/main" id="{174A5327-5ABF-4C3B-BEBC-7620D4A244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63365" y="3826842"/>
              <a:ext cx="508041" cy="508041"/>
            </a:xfrm>
            <a:prstGeom prst="rect">
              <a:avLst/>
            </a:prstGeom>
          </p:spPr>
        </p:pic>
      </p:grpSp>
      <p:grpSp>
        <p:nvGrpSpPr>
          <p:cNvPr id="387" name="Group 386">
            <a:extLst>
              <a:ext uri="{FF2B5EF4-FFF2-40B4-BE49-F238E27FC236}">
                <a16:creationId xmlns:a16="http://schemas.microsoft.com/office/drawing/2014/main" id="{5DD7F5DA-9492-4EB8-B178-D18F75D48FE5}"/>
              </a:ext>
            </a:extLst>
          </p:cNvPr>
          <p:cNvGrpSpPr/>
          <p:nvPr/>
        </p:nvGrpSpPr>
        <p:grpSpPr>
          <a:xfrm>
            <a:off x="7573823" y="2999980"/>
            <a:ext cx="1313694" cy="3497263"/>
            <a:chOff x="7425127" y="2941425"/>
            <a:chExt cx="1288052" cy="3429000"/>
          </a:xfrm>
        </p:grpSpPr>
        <p:sp>
          <p:nvSpPr>
            <p:cNvPr id="110" name="Rectangle 109">
              <a:extLst>
                <a:ext uri="{FF2B5EF4-FFF2-40B4-BE49-F238E27FC236}">
                  <a16:creationId xmlns:a16="http://schemas.microsoft.com/office/drawing/2014/main" id="{AA210A89-97DF-4C24-AD35-8DE860EBF7C9}"/>
                </a:ext>
              </a:extLst>
            </p:cNvPr>
            <p:cNvSpPr/>
            <p:nvPr/>
          </p:nvSpPr>
          <p:spPr bwMode="auto">
            <a:xfrm>
              <a:off x="7433725"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E3139211-B073-4FF7-ACD8-B61F420BBCA3}"/>
                </a:ext>
              </a:extLst>
            </p:cNvPr>
            <p:cNvSpPr/>
            <p:nvPr/>
          </p:nvSpPr>
          <p:spPr bwMode="auto">
            <a:xfrm>
              <a:off x="7433725"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12" name="Rectangle 111">
              <a:extLst>
                <a:ext uri="{FF2B5EF4-FFF2-40B4-BE49-F238E27FC236}">
                  <a16:creationId xmlns:a16="http://schemas.microsoft.com/office/drawing/2014/main" id="{7892507F-3A98-4190-A0DA-FE5951FCECBD}"/>
                </a:ext>
              </a:extLst>
            </p:cNvPr>
            <p:cNvSpPr/>
            <p:nvPr/>
          </p:nvSpPr>
          <p:spPr bwMode="auto">
            <a:xfrm>
              <a:off x="7434193"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14" name="Rectangle 113">
              <a:extLst>
                <a:ext uri="{FF2B5EF4-FFF2-40B4-BE49-F238E27FC236}">
                  <a16:creationId xmlns:a16="http://schemas.microsoft.com/office/drawing/2014/main" id="{36A053E2-B1FF-43B6-865D-8EB117F3ECA1}"/>
                </a:ext>
              </a:extLst>
            </p:cNvPr>
            <p:cNvSpPr/>
            <p:nvPr/>
          </p:nvSpPr>
          <p:spPr bwMode="auto">
            <a:xfrm>
              <a:off x="7433725" y="2941425"/>
              <a:ext cx="1278986" cy="6858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gradFill>
                    <a:gsLst>
                      <a:gs pos="40075">
                        <a:srgbClr val="FFFFFF"/>
                      </a:gs>
                      <a:gs pos="30000">
                        <a:srgbClr val="FFFFFF"/>
                      </a:gs>
                    </a:gsLst>
                    <a:lin ang="5400000" scaled="0"/>
                  </a:gradFill>
                  <a:latin typeface="Segoe UI"/>
                </a:rPr>
                <a:t>Additional Azure hosts</a:t>
              </a:r>
            </a:p>
          </p:txBody>
        </p:sp>
        <p:pic>
          <p:nvPicPr>
            <p:cNvPr id="147" name="Picture 146">
              <a:extLst>
                <a:ext uri="{FF2B5EF4-FFF2-40B4-BE49-F238E27FC236}">
                  <a16:creationId xmlns:a16="http://schemas.microsoft.com/office/drawing/2014/main" id="{458CB64B-4C8F-4EB9-9EFA-E2EA813DF7EA}"/>
                </a:ext>
              </a:extLst>
            </p:cNvPr>
            <p:cNvPicPr>
              <a:picLocks noChangeAspect="1"/>
            </p:cNvPicPr>
            <p:nvPr/>
          </p:nvPicPr>
          <p:blipFill>
            <a:blip r:embed="rId2"/>
            <a:stretch>
              <a:fillRect/>
            </a:stretch>
          </p:blipFill>
          <p:spPr>
            <a:xfrm>
              <a:off x="7758037" y="4727607"/>
              <a:ext cx="630295" cy="542436"/>
            </a:xfrm>
            <a:prstGeom prst="rect">
              <a:avLst/>
            </a:prstGeom>
          </p:spPr>
        </p:pic>
        <p:sp>
          <p:nvSpPr>
            <p:cNvPr id="155" name="TextBox 154">
              <a:extLst>
                <a:ext uri="{FF2B5EF4-FFF2-40B4-BE49-F238E27FC236}">
                  <a16:creationId xmlns:a16="http://schemas.microsoft.com/office/drawing/2014/main" id="{C46D6024-8552-458B-ADED-EE7CBF241420}"/>
                </a:ext>
              </a:extLst>
            </p:cNvPr>
            <p:cNvSpPr txBox="1"/>
            <p:nvPr/>
          </p:nvSpPr>
          <p:spPr>
            <a:xfrm>
              <a:off x="7425127" y="5265619"/>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Container</a:t>
              </a:r>
            </a:p>
          </p:txBody>
        </p:sp>
        <p:pic>
          <p:nvPicPr>
            <p:cNvPr id="196" name="Graphic 195">
              <a:extLst>
                <a:ext uri="{FF2B5EF4-FFF2-40B4-BE49-F238E27FC236}">
                  <a16:creationId xmlns:a16="http://schemas.microsoft.com/office/drawing/2014/main" id="{A7C6B9BA-327C-464E-973C-7E2AE58F7D6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61067" y="3888643"/>
              <a:ext cx="365760" cy="365760"/>
            </a:xfrm>
            <a:prstGeom prst="rect">
              <a:avLst/>
            </a:prstGeom>
          </p:spPr>
        </p:pic>
        <p:pic>
          <p:nvPicPr>
            <p:cNvPr id="228" name="Picture 227" descr="A close up of a logo&#10;&#10;Description generated with high confidence">
              <a:extLst>
                <a:ext uri="{FF2B5EF4-FFF2-40B4-BE49-F238E27FC236}">
                  <a16:creationId xmlns:a16="http://schemas.microsoft.com/office/drawing/2014/main" id="{3C289756-ED1A-4267-ADE7-B5B7D8D00823}"/>
                </a:ext>
              </a:extLst>
            </p:cNvPr>
            <p:cNvPicPr>
              <a:picLocks noChangeAspect="1"/>
            </p:cNvPicPr>
            <p:nvPr/>
          </p:nvPicPr>
          <p:blipFill>
            <a:blip r:embed="rId15"/>
            <a:stretch>
              <a:fillRect/>
            </a:stretch>
          </p:blipFill>
          <p:spPr>
            <a:xfrm>
              <a:off x="7889403" y="3895808"/>
              <a:ext cx="365760" cy="365760"/>
            </a:xfrm>
            <a:prstGeom prst="rect">
              <a:avLst/>
            </a:prstGeom>
          </p:spPr>
        </p:pic>
        <p:sp>
          <p:nvSpPr>
            <p:cNvPr id="199" name="TextBox 198">
              <a:extLst>
                <a:ext uri="{FF2B5EF4-FFF2-40B4-BE49-F238E27FC236}">
                  <a16:creationId xmlns:a16="http://schemas.microsoft.com/office/drawing/2014/main" id="{5FFAC903-AA01-437E-B649-9C979AC1FEA0}"/>
                </a:ext>
              </a:extLst>
            </p:cNvPr>
            <p:cNvSpPr txBox="1"/>
            <p:nvPr/>
          </p:nvSpPr>
          <p:spPr>
            <a:xfrm>
              <a:off x="7432527" y="4345545"/>
              <a:ext cx="1279512"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AKS, Service Fabric Mesh, …</a:t>
              </a:r>
            </a:p>
          </p:txBody>
        </p:sp>
        <p:sp>
          <p:nvSpPr>
            <p:cNvPr id="200" name="Rectangle 199">
              <a:extLst>
                <a:ext uri="{FF2B5EF4-FFF2-40B4-BE49-F238E27FC236}">
                  <a16:creationId xmlns:a16="http://schemas.microsoft.com/office/drawing/2014/main" id="{E74A50F6-A026-42A7-A407-4B64718D324B}"/>
                </a:ext>
              </a:extLst>
            </p:cNvPr>
            <p:cNvSpPr/>
            <p:nvPr/>
          </p:nvSpPr>
          <p:spPr bwMode="auto">
            <a:xfrm>
              <a:off x="8301202" y="3901314"/>
              <a:ext cx="365760" cy="3657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dirty="0">
                  <a:solidFill>
                    <a:sysClr val="windowText" lastClr="000000"/>
                  </a:solidFill>
                  <a:latin typeface="Segoe UI"/>
                </a:rPr>
                <a:t>●●●</a:t>
              </a:r>
            </a:p>
          </p:txBody>
        </p:sp>
        <p:pic>
          <p:nvPicPr>
            <p:cNvPr id="204" name="Graphic 203">
              <a:extLst>
                <a:ext uri="{FF2B5EF4-FFF2-40B4-BE49-F238E27FC236}">
                  <a16:creationId xmlns:a16="http://schemas.microsoft.com/office/drawing/2014/main" id="{723FFD73-161F-4158-887C-D4E01F28C9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4478" y="5675992"/>
              <a:ext cx="476250" cy="476250"/>
            </a:xfrm>
            <a:prstGeom prst="rect">
              <a:avLst/>
            </a:prstGeom>
          </p:spPr>
        </p:pic>
        <p:sp>
          <p:nvSpPr>
            <p:cNvPr id="205" name="TextBox 204">
              <a:extLst>
                <a:ext uri="{FF2B5EF4-FFF2-40B4-BE49-F238E27FC236}">
                  <a16:creationId xmlns:a16="http://schemas.microsoft.com/office/drawing/2014/main" id="{7338C6A1-E5FF-45C5-A13B-9FF33D898E12}"/>
                </a:ext>
              </a:extLst>
            </p:cNvPr>
            <p:cNvSpPr txBox="1"/>
            <p:nvPr/>
          </p:nvSpPr>
          <p:spPr>
            <a:xfrm>
              <a:off x="7429401" y="6186650"/>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Linux</a:t>
              </a:r>
            </a:p>
          </p:txBody>
        </p:sp>
      </p:grpSp>
      <p:grpSp>
        <p:nvGrpSpPr>
          <p:cNvPr id="388" name="Group 387">
            <a:extLst>
              <a:ext uri="{FF2B5EF4-FFF2-40B4-BE49-F238E27FC236}">
                <a16:creationId xmlns:a16="http://schemas.microsoft.com/office/drawing/2014/main" id="{B8604A61-CF42-405C-B9B5-CCBA7D3FDA22}"/>
              </a:ext>
            </a:extLst>
          </p:cNvPr>
          <p:cNvGrpSpPr/>
          <p:nvPr/>
        </p:nvGrpSpPr>
        <p:grpSpPr>
          <a:xfrm>
            <a:off x="8975788" y="2999980"/>
            <a:ext cx="1313034" cy="3497263"/>
            <a:chOff x="8799726" y="2941425"/>
            <a:chExt cx="1287405" cy="3429000"/>
          </a:xfrm>
        </p:grpSpPr>
        <p:sp>
          <p:nvSpPr>
            <p:cNvPr id="116" name="Rectangle 115">
              <a:extLst>
                <a:ext uri="{FF2B5EF4-FFF2-40B4-BE49-F238E27FC236}">
                  <a16:creationId xmlns:a16="http://schemas.microsoft.com/office/drawing/2014/main" id="{9EB51298-7E94-4758-AF29-1D6A32726ACB}"/>
                </a:ext>
              </a:extLst>
            </p:cNvPr>
            <p:cNvSpPr/>
            <p:nvPr/>
          </p:nvSpPr>
          <p:spPr bwMode="auto">
            <a:xfrm>
              <a:off x="8804573"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17" name="Rectangle 116">
              <a:extLst>
                <a:ext uri="{FF2B5EF4-FFF2-40B4-BE49-F238E27FC236}">
                  <a16:creationId xmlns:a16="http://schemas.microsoft.com/office/drawing/2014/main" id="{4E36DCB4-7B35-45ED-B991-F65A843DAC76}"/>
                </a:ext>
              </a:extLst>
            </p:cNvPr>
            <p:cNvSpPr/>
            <p:nvPr/>
          </p:nvSpPr>
          <p:spPr bwMode="auto">
            <a:xfrm>
              <a:off x="8804573"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18" name="Rectangle 117">
              <a:extLst>
                <a:ext uri="{FF2B5EF4-FFF2-40B4-BE49-F238E27FC236}">
                  <a16:creationId xmlns:a16="http://schemas.microsoft.com/office/drawing/2014/main" id="{9B0170C4-78BC-4FE3-BAB4-471D67F8943D}"/>
                </a:ext>
              </a:extLst>
            </p:cNvPr>
            <p:cNvSpPr/>
            <p:nvPr/>
          </p:nvSpPr>
          <p:spPr bwMode="auto">
            <a:xfrm>
              <a:off x="8805041"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120" name="Rectangle 119">
              <a:extLst>
                <a:ext uri="{FF2B5EF4-FFF2-40B4-BE49-F238E27FC236}">
                  <a16:creationId xmlns:a16="http://schemas.microsoft.com/office/drawing/2014/main" id="{8264D9D9-87E4-4FA3-96A4-13AC3178314D}"/>
                </a:ext>
              </a:extLst>
            </p:cNvPr>
            <p:cNvSpPr/>
            <p:nvPr/>
          </p:nvSpPr>
          <p:spPr bwMode="auto">
            <a:xfrm>
              <a:off x="8804573" y="2941425"/>
              <a:ext cx="1278986" cy="68580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gradFill>
                    <a:gsLst>
                      <a:gs pos="40075">
                        <a:srgbClr val="FFFFFF"/>
                      </a:gs>
                      <a:gs pos="30000">
                        <a:srgbClr val="FFFFFF"/>
                      </a:gs>
                    </a:gsLst>
                    <a:lin ang="5400000" scaled="0"/>
                  </a:gradFill>
                  <a:latin typeface="Segoe UI"/>
                </a:rPr>
                <a:t>Non-Azure hosts</a:t>
              </a:r>
            </a:p>
          </p:txBody>
        </p:sp>
        <p:pic>
          <p:nvPicPr>
            <p:cNvPr id="151" name="Picture 150">
              <a:extLst>
                <a:ext uri="{FF2B5EF4-FFF2-40B4-BE49-F238E27FC236}">
                  <a16:creationId xmlns:a16="http://schemas.microsoft.com/office/drawing/2014/main" id="{454635E1-787B-4C2F-B44B-3A1C148116F4}"/>
                </a:ext>
              </a:extLst>
            </p:cNvPr>
            <p:cNvPicPr>
              <a:picLocks noChangeAspect="1"/>
            </p:cNvPicPr>
            <p:nvPr/>
          </p:nvPicPr>
          <p:blipFill>
            <a:blip r:embed="rId2"/>
            <a:stretch>
              <a:fillRect/>
            </a:stretch>
          </p:blipFill>
          <p:spPr>
            <a:xfrm>
              <a:off x="9128885" y="4727607"/>
              <a:ext cx="630295" cy="542436"/>
            </a:xfrm>
            <a:prstGeom prst="rect">
              <a:avLst/>
            </a:prstGeom>
          </p:spPr>
        </p:pic>
        <p:sp>
          <p:nvSpPr>
            <p:cNvPr id="156" name="TextBox 155">
              <a:extLst>
                <a:ext uri="{FF2B5EF4-FFF2-40B4-BE49-F238E27FC236}">
                  <a16:creationId xmlns:a16="http://schemas.microsoft.com/office/drawing/2014/main" id="{F72C52D9-1EB6-4F55-89BB-06A4EF1AB7BC}"/>
                </a:ext>
              </a:extLst>
            </p:cNvPr>
            <p:cNvSpPr txBox="1"/>
            <p:nvPr/>
          </p:nvSpPr>
          <p:spPr>
            <a:xfrm>
              <a:off x="8803383" y="5262241"/>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Container</a:t>
              </a:r>
            </a:p>
          </p:txBody>
        </p:sp>
        <p:pic>
          <p:nvPicPr>
            <p:cNvPr id="171" name="Graphic 170">
              <a:extLst>
                <a:ext uri="{FF2B5EF4-FFF2-40B4-BE49-F238E27FC236}">
                  <a16:creationId xmlns:a16="http://schemas.microsoft.com/office/drawing/2014/main" id="{4B9AD101-B40B-4052-BEE4-1F7E32FD152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05338" y="5675100"/>
              <a:ext cx="476250" cy="476250"/>
            </a:xfrm>
            <a:prstGeom prst="rect">
              <a:avLst/>
            </a:prstGeom>
          </p:spPr>
        </p:pic>
        <p:sp>
          <p:nvSpPr>
            <p:cNvPr id="188" name="TextBox 187">
              <a:extLst>
                <a:ext uri="{FF2B5EF4-FFF2-40B4-BE49-F238E27FC236}">
                  <a16:creationId xmlns:a16="http://schemas.microsoft.com/office/drawing/2014/main" id="{841ADDE8-BD3E-4282-AA36-2735F775EE96}"/>
                </a:ext>
              </a:extLst>
            </p:cNvPr>
            <p:cNvSpPr txBox="1"/>
            <p:nvPr/>
          </p:nvSpPr>
          <p:spPr>
            <a:xfrm>
              <a:off x="8800261" y="6185758"/>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Linux</a:t>
              </a:r>
            </a:p>
          </p:txBody>
        </p:sp>
        <p:pic>
          <p:nvPicPr>
            <p:cNvPr id="201" name="Picture 200" descr="A close up of a logo&#10;&#10;Description generated with very high confidence">
              <a:extLst>
                <a:ext uri="{FF2B5EF4-FFF2-40B4-BE49-F238E27FC236}">
                  <a16:creationId xmlns:a16="http://schemas.microsoft.com/office/drawing/2014/main" id="{E60DAF3C-9F7C-43BF-9E3F-F492716C4C34}"/>
                </a:ext>
              </a:extLst>
            </p:cNvPr>
            <p:cNvPicPr>
              <a:picLocks noChangeAspect="1"/>
            </p:cNvPicPr>
            <p:nvPr/>
          </p:nvPicPr>
          <p:blipFill>
            <a:blip r:embed="rId16"/>
            <a:stretch>
              <a:fillRect/>
            </a:stretch>
          </p:blipFill>
          <p:spPr>
            <a:xfrm>
              <a:off x="8848137" y="3893731"/>
              <a:ext cx="365760" cy="354890"/>
            </a:xfrm>
            <a:prstGeom prst="rect">
              <a:avLst/>
            </a:prstGeom>
          </p:spPr>
        </p:pic>
        <p:sp>
          <p:nvSpPr>
            <p:cNvPr id="203" name="Rectangle 202">
              <a:extLst>
                <a:ext uri="{FF2B5EF4-FFF2-40B4-BE49-F238E27FC236}">
                  <a16:creationId xmlns:a16="http://schemas.microsoft.com/office/drawing/2014/main" id="{9E6F6FC5-2254-441D-B894-868A3419DD1F}"/>
                </a:ext>
              </a:extLst>
            </p:cNvPr>
            <p:cNvSpPr/>
            <p:nvPr/>
          </p:nvSpPr>
          <p:spPr bwMode="auto">
            <a:xfrm>
              <a:off x="9666785" y="3901314"/>
              <a:ext cx="365760" cy="3657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dirty="0">
                  <a:solidFill>
                    <a:sysClr val="windowText" lastClr="000000"/>
                  </a:solidFill>
                  <a:latin typeface="Segoe UI"/>
                </a:rPr>
                <a:t>●●●</a:t>
              </a:r>
            </a:p>
          </p:txBody>
        </p:sp>
        <p:sp>
          <p:nvSpPr>
            <p:cNvPr id="206" name="TextBox 205">
              <a:extLst>
                <a:ext uri="{FF2B5EF4-FFF2-40B4-BE49-F238E27FC236}">
                  <a16:creationId xmlns:a16="http://schemas.microsoft.com/office/drawing/2014/main" id="{86243F16-6BF1-4317-9248-5FD82376CEE4}"/>
                </a:ext>
              </a:extLst>
            </p:cNvPr>
            <p:cNvSpPr txBox="1"/>
            <p:nvPr/>
          </p:nvSpPr>
          <p:spPr>
            <a:xfrm>
              <a:off x="8799726" y="4349855"/>
              <a:ext cx="1287405"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K8s, raw VMs, &amp; more</a:t>
              </a:r>
            </a:p>
          </p:txBody>
        </p:sp>
        <p:pic>
          <p:nvPicPr>
            <p:cNvPr id="207" name="Graphic 206">
              <a:extLst>
                <a:ext uri="{FF2B5EF4-FFF2-40B4-BE49-F238E27FC236}">
                  <a16:creationId xmlns:a16="http://schemas.microsoft.com/office/drawing/2014/main" id="{955C9753-DFD5-47AF-89F0-DABDCFD7F104}"/>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30788" t="25888" r="28207" b="21307"/>
            <a:stretch/>
          </p:blipFill>
          <p:spPr>
            <a:xfrm>
              <a:off x="9257461" y="3896707"/>
              <a:ext cx="365760" cy="363963"/>
            </a:xfrm>
            <a:prstGeom prst="rect">
              <a:avLst/>
            </a:prstGeom>
          </p:spPr>
        </p:pic>
      </p:grpSp>
      <p:sp>
        <p:nvSpPr>
          <p:cNvPr id="209" name="Rectangle 208">
            <a:extLst>
              <a:ext uri="{FF2B5EF4-FFF2-40B4-BE49-F238E27FC236}">
                <a16:creationId xmlns:a16="http://schemas.microsoft.com/office/drawing/2014/main" id="{405ABE7D-6B40-4141-AC69-9C6878A8293A}"/>
              </a:ext>
            </a:extLst>
          </p:cNvPr>
          <p:cNvSpPr/>
          <p:nvPr/>
        </p:nvSpPr>
        <p:spPr bwMode="auto">
          <a:xfrm>
            <a:off x="1996955" y="2626356"/>
            <a:ext cx="1305645" cy="267269"/>
          </a:xfrm>
          <a:prstGeom prst="rect">
            <a:avLst/>
          </a:prstGeom>
          <a:solidFill>
            <a:srgbClr val="5C2D91"/>
          </a:solidFill>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gradFill>
                  <a:gsLst>
                    <a:gs pos="40075">
                      <a:srgbClr val="FFFFFF"/>
                    </a:gs>
                    <a:gs pos="30000">
                      <a:srgbClr val="FFFFFF"/>
                    </a:gs>
                  </a:gsLst>
                  <a:lin ang="5400000" scaled="0"/>
                </a:gradFill>
                <a:latin typeface="Segoe UI"/>
              </a:rPr>
              <a:t>Development</a:t>
            </a:r>
          </a:p>
        </p:txBody>
      </p:sp>
      <p:sp>
        <p:nvSpPr>
          <p:cNvPr id="212" name="Rectangle 211">
            <a:extLst>
              <a:ext uri="{FF2B5EF4-FFF2-40B4-BE49-F238E27FC236}">
                <a16:creationId xmlns:a16="http://schemas.microsoft.com/office/drawing/2014/main" id="{2C55852F-342F-4130-81CE-B6564DF73416}"/>
              </a:ext>
            </a:extLst>
          </p:cNvPr>
          <p:cNvSpPr/>
          <p:nvPr/>
        </p:nvSpPr>
        <p:spPr bwMode="auto">
          <a:xfrm>
            <a:off x="3395458" y="2627910"/>
            <a:ext cx="8300361" cy="265715"/>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gradFill>
                  <a:gsLst>
                    <a:gs pos="40075">
                      <a:srgbClr val="FFFFFF"/>
                    </a:gs>
                    <a:gs pos="30000">
                      <a:srgbClr val="FFFFFF"/>
                    </a:gs>
                  </a:gsLst>
                  <a:lin ang="5400000" scaled="0"/>
                </a:gradFill>
                <a:latin typeface="Segoe UI"/>
              </a:rPr>
              <a:t>Hosting</a:t>
            </a:r>
          </a:p>
        </p:txBody>
      </p:sp>
      <p:grpSp>
        <p:nvGrpSpPr>
          <p:cNvPr id="386" name="Group 385">
            <a:extLst>
              <a:ext uri="{FF2B5EF4-FFF2-40B4-BE49-F238E27FC236}">
                <a16:creationId xmlns:a16="http://schemas.microsoft.com/office/drawing/2014/main" id="{1011A497-3B35-490D-970E-90308AA41106}"/>
              </a:ext>
            </a:extLst>
          </p:cNvPr>
          <p:cNvGrpSpPr/>
          <p:nvPr/>
        </p:nvGrpSpPr>
        <p:grpSpPr>
          <a:xfrm>
            <a:off x="6180270" y="2999980"/>
            <a:ext cx="1306365" cy="3497263"/>
            <a:chOff x="6058774" y="2941425"/>
            <a:chExt cx="1280866" cy="3429000"/>
          </a:xfrm>
        </p:grpSpPr>
        <p:sp>
          <p:nvSpPr>
            <p:cNvPr id="214" name="Rectangle 213">
              <a:extLst>
                <a:ext uri="{FF2B5EF4-FFF2-40B4-BE49-F238E27FC236}">
                  <a16:creationId xmlns:a16="http://schemas.microsoft.com/office/drawing/2014/main" id="{84D5C318-6F28-458D-9807-E2D22A050C1C}"/>
                </a:ext>
              </a:extLst>
            </p:cNvPr>
            <p:cNvSpPr/>
            <p:nvPr/>
          </p:nvSpPr>
          <p:spPr bwMode="auto">
            <a:xfrm>
              <a:off x="6059981"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215" name="Rectangle 214">
              <a:extLst>
                <a:ext uri="{FF2B5EF4-FFF2-40B4-BE49-F238E27FC236}">
                  <a16:creationId xmlns:a16="http://schemas.microsoft.com/office/drawing/2014/main" id="{F163EA99-070D-490A-ACF7-B9269361B041}"/>
                </a:ext>
              </a:extLst>
            </p:cNvPr>
            <p:cNvSpPr/>
            <p:nvPr/>
          </p:nvSpPr>
          <p:spPr bwMode="auto">
            <a:xfrm>
              <a:off x="6059981"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216" name="Rectangle 215">
              <a:extLst>
                <a:ext uri="{FF2B5EF4-FFF2-40B4-BE49-F238E27FC236}">
                  <a16:creationId xmlns:a16="http://schemas.microsoft.com/office/drawing/2014/main" id="{045AA712-F75F-4B37-ADD5-A80AF9850BE8}"/>
                </a:ext>
              </a:extLst>
            </p:cNvPr>
            <p:cNvSpPr/>
            <p:nvPr/>
          </p:nvSpPr>
          <p:spPr bwMode="auto">
            <a:xfrm>
              <a:off x="6060449"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217" name="Rectangle 216">
              <a:extLst>
                <a:ext uri="{FF2B5EF4-FFF2-40B4-BE49-F238E27FC236}">
                  <a16:creationId xmlns:a16="http://schemas.microsoft.com/office/drawing/2014/main" id="{75F6CAC1-F3DB-47B1-A8DE-8115B9DABDE2}"/>
                </a:ext>
              </a:extLst>
            </p:cNvPr>
            <p:cNvSpPr/>
            <p:nvPr/>
          </p:nvSpPr>
          <p:spPr bwMode="auto">
            <a:xfrm>
              <a:off x="6059981" y="2941425"/>
              <a:ext cx="1278986" cy="6858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gradFill>
                    <a:gsLst>
                      <a:gs pos="40075">
                        <a:srgbClr val="FFFFFF"/>
                      </a:gs>
                      <a:gs pos="30000">
                        <a:srgbClr val="FFFFFF"/>
                      </a:gs>
                    </a:gsLst>
                    <a:lin ang="5400000" scaled="0"/>
                  </a:gradFill>
                  <a:latin typeface="Segoe UI"/>
                </a:rPr>
                <a:t>IoT devices</a:t>
              </a:r>
            </a:p>
          </p:txBody>
        </p:sp>
        <p:pic>
          <p:nvPicPr>
            <p:cNvPr id="218" name="Picture 217">
              <a:extLst>
                <a:ext uri="{FF2B5EF4-FFF2-40B4-BE49-F238E27FC236}">
                  <a16:creationId xmlns:a16="http://schemas.microsoft.com/office/drawing/2014/main" id="{9E5EDC53-6B43-4539-B15C-3F8F21295641}"/>
                </a:ext>
              </a:extLst>
            </p:cNvPr>
            <p:cNvPicPr>
              <a:picLocks noChangeAspect="1"/>
            </p:cNvPicPr>
            <p:nvPr/>
          </p:nvPicPr>
          <p:blipFill>
            <a:blip r:embed="rId2"/>
            <a:stretch>
              <a:fillRect/>
            </a:stretch>
          </p:blipFill>
          <p:spPr>
            <a:xfrm>
              <a:off x="6384293" y="4727607"/>
              <a:ext cx="630295" cy="542436"/>
            </a:xfrm>
            <a:prstGeom prst="rect">
              <a:avLst/>
            </a:prstGeom>
          </p:spPr>
        </p:pic>
        <p:sp>
          <p:nvSpPr>
            <p:cNvPr id="219" name="TextBox 218">
              <a:extLst>
                <a:ext uri="{FF2B5EF4-FFF2-40B4-BE49-F238E27FC236}">
                  <a16:creationId xmlns:a16="http://schemas.microsoft.com/office/drawing/2014/main" id="{F1F9D8C2-8434-4423-9E40-DE0386606055}"/>
                </a:ext>
              </a:extLst>
            </p:cNvPr>
            <p:cNvSpPr txBox="1"/>
            <p:nvPr/>
          </p:nvSpPr>
          <p:spPr>
            <a:xfrm>
              <a:off x="6059480" y="5268998"/>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Container</a:t>
              </a:r>
            </a:p>
          </p:txBody>
        </p:sp>
        <p:pic>
          <p:nvPicPr>
            <p:cNvPr id="220" name="Graphic 219">
              <a:extLst>
                <a:ext uri="{FF2B5EF4-FFF2-40B4-BE49-F238E27FC236}">
                  <a16:creationId xmlns:a16="http://schemas.microsoft.com/office/drawing/2014/main" id="{587CA4F3-5D6B-4C96-BF9E-683B8BBD661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61314" y="5675100"/>
              <a:ext cx="476250" cy="476250"/>
            </a:xfrm>
            <a:prstGeom prst="rect">
              <a:avLst/>
            </a:prstGeom>
          </p:spPr>
        </p:pic>
        <p:pic>
          <p:nvPicPr>
            <p:cNvPr id="221" name="Graphic 220">
              <a:extLst>
                <a:ext uri="{FF2B5EF4-FFF2-40B4-BE49-F238E27FC236}">
                  <a16:creationId xmlns:a16="http://schemas.microsoft.com/office/drawing/2014/main" id="{56C413F5-B5EB-4573-A446-8DDDB650441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447135" y="3801824"/>
              <a:ext cx="504609" cy="538705"/>
            </a:xfrm>
            <a:prstGeom prst="rect">
              <a:avLst/>
            </a:prstGeom>
          </p:spPr>
        </p:pic>
        <p:sp>
          <p:nvSpPr>
            <p:cNvPr id="222" name="TextBox 221">
              <a:extLst>
                <a:ext uri="{FF2B5EF4-FFF2-40B4-BE49-F238E27FC236}">
                  <a16:creationId xmlns:a16="http://schemas.microsoft.com/office/drawing/2014/main" id="{A88511C1-B9E6-4442-8BA3-D919C7C59A78}"/>
                </a:ext>
              </a:extLst>
            </p:cNvPr>
            <p:cNvSpPr txBox="1"/>
            <p:nvPr/>
          </p:nvSpPr>
          <p:spPr>
            <a:xfrm>
              <a:off x="6059414" y="4348354"/>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Azure IoT Edge</a:t>
              </a:r>
            </a:p>
          </p:txBody>
        </p:sp>
        <p:sp>
          <p:nvSpPr>
            <p:cNvPr id="223" name="TextBox 222">
              <a:extLst>
                <a:ext uri="{FF2B5EF4-FFF2-40B4-BE49-F238E27FC236}">
                  <a16:creationId xmlns:a16="http://schemas.microsoft.com/office/drawing/2014/main" id="{ED5E9FF0-542F-4194-A84D-E5190BE48A65}"/>
                </a:ext>
              </a:extLst>
            </p:cNvPr>
            <p:cNvSpPr txBox="1"/>
            <p:nvPr/>
          </p:nvSpPr>
          <p:spPr>
            <a:xfrm>
              <a:off x="6058774" y="6183330"/>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Linux</a:t>
              </a:r>
            </a:p>
          </p:txBody>
        </p:sp>
      </p:grpSp>
      <p:grpSp>
        <p:nvGrpSpPr>
          <p:cNvPr id="383" name="Group 382">
            <a:extLst>
              <a:ext uri="{FF2B5EF4-FFF2-40B4-BE49-F238E27FC236}">
                <a16:creationId xmlns:a16="http://schemas.microsoft.com/office/drawing/2014/main" id="{1CB66498-40A4-451F-B725-ECE69CEC1D68}"/>
              </a:ext>
            </a:extLst>
          </p:cNvPr>
          <p:cNvGrpSpPr/>
          <p:nvPr/>
        </p:nvGrpSpPr>
        <p:grpSpPr>
          <a:xfrm>
            <a:off x="1992909" y="2999426"/>
            <a:ext cx="1310431" cy="3497817"/>
            <a:chOff x="1953145" y="2940881"/>
            <a:chExt cx="1284853" cy="3429544"/>
          </a:xfrm>
        </p:grpSpPr>
        <p:sp>
          <p:nvSpPr>
            <p:cNvPr id="92" name="Rectangle 91">
              <a:extLst>
                <a:ext uri="{FF2B5EF4-FFF2-40B4-BE49-F238E27FC236}">
                  <a16:creationId xmlns:a16="http://schemas.microsoft.com/office/drawing/2014/main" id="{648AD6D7-1CF3-44A8-AD22-58FADAF4938F}"/>
                </a:ext>
              </a:extLst>
            </p:cNvPr>
            <p:cNvSpPr/>
            <p:nvPr/>
          </p:nvSpPr>
          <p:spPr bwMode="auto">
            <a:xfrm>
              <a:off x="1958544"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93" name="Rectangle 92">
              <a:extLst>
                <a:ext uri="{FF2B5EF4-FFF2-40B4-BE49-F238E27FC236}">
                  <a16:creationId xmlns:a16="http://schemas.microsoft.com/office/drawing/2014/main" id="{801FDC67-CECD-4AEB-AFD0-E93C734E8951}"/>
                </a:ext>
              </a:extLst>
            </p:cNvPr>
            <p:cNvSpPr/>
            <p:nvPr/>
          </p:nvSpPr>
          <p:spPr bwMode="auto">
            <a:xfrm>
              <a:off x="1958544"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94" name="Rectangle 93">
              <a:extLst>
                <a:ext uri="{FF2B5EF4-FFF2-40B4-BE49-F238E27FC236}">
                  <a16:creationId xmlns:a16="http://schemas.microsoft.com/office/drawing/2014/main" id="{1B77705D-805A-4B68-A7E1-4C9077013666}"/>
                </a:ext>
              </a:extLst>
            </p:cNvPr>
            <p:cNvSpPr/>
            <p:nvPr/>
          </p:nvSpPr>
          <p:spPr bwMode="auto">
            <a:xfrm>
              <a:off x="1959012"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96" name="Rectangle 95">
              <a:extLst>
                <a:ext uri="{FF2B5EF4-FFF2-40B4-BE49-F238E27FC236}">
                  <a16:creationId xmlns:a16="http://schemas.microsoft.com/office/drawing/2014/main" id="{179AC1F9-0FEC-404C-84E9-16A352E95EA0}"/>
                </a:ext>
              </a:extLst>
            </p:cNvPr>
            <p:cNvSpPr/>
            <p:nvPr/>
          </p:nvSpPr>
          <p:spPr bwMode="auto">
            <a:xfrm>
              <a:off x="1958544" y="2940881"/>
              <a:ext cx="1278986" cy="686344"/>
            </a:xfrm>
            <a:prstGeom prst="rect">
              <a:avLst/>
            </a:prstGeom>
            <a:solidFill>
              <a:srgbClr val="5C2D91"/>
            </a:solidFill>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gradFill>
                    <a:gsLst>
                      <a:gs pos="40075">
                        <a:srgbClr val="FFFFFF"/>
                      </a:gs>
                      <a:gs pos="30000">
                        <a:srgbClr val="FFFFFF"/>
                      </a:gs>
                    </a:gsLst>
                    <a:lin ang="5400000" scaled="0"/>
                  </a:gradFill>
                  <a:latin typeface="Segoe UI"/>
                </a:rPr>
                <a:t>Local dev machine</a:t>
              </a:r>
            </a:p>
          </p:txBody>
        </p:sp>
        <p:pic>
          <p:nvPicPr>
            <p:cNvPr id="149" name="Graphic 148">
              <a:extLst>
                <a:ext uri="{FF2B5EF4-FFF2-40B4-BE49-F238E27FC236}">
                  <a16:creationId xmlns:a16="http://schemas.microsoft.com/office/drawing/2014/main" id="{D1221A1B-EF40-47D6-80E4-93AFA2DD30CF}"/>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1967224" y="4679078"/>
              <a:ext cx="639493" cy="639493"/>
            </a:xfrm>
            <a:prstGeom prst="rect">
              <a:avLst/>
            </a:prstGeom>
          </p:spPr>
        </p:pic>
        <p:pic>
          <p:nvPicPr>
            <p:cNvPr id="150" name="Picture 149">
              <a:extLst>
                <a:ext uri="{FF2B5EF4-FFF2-40B4-BE49-F238E27FC236}">
                  <a16:creationId xmlns:a16="http://schemas.microsoft.com/office/drawing/2014/main" id="{DF39F5A2-4EFB-47E2-92F5-7B5B6FD8AB2E}"/>
                </a:ext>
              </a:extLst>
            </p:cNvPr>
            <p:cNvPicPr>
              <a:picLocks noChangeAspect="1"/>
            </p:cNvPicPr>
            <p:nvPr/>
          </p:nvPicPr>
          <p:blipFill>
            <a:blip r:embed="rId2"/>
            <a:stretch>
              <a:fillRect/>
            </a:stretch>
          </p:blipFill>
          <p:spPr>
            <a:xfrm>
              <a:off x="2607218" y="4727607"/>
              <a:ext cx="630295" cy="542436"/>
            </a:xfrm>
            <a:prstGeom prst="rect">
              <a:avLst/>
            </a:prstGeom>
          </p:spPr>
        </p:pic>
        <p:sp>
          <p:nvSpPr>
            <p:cNvPr id="153" name="TextBox 152">
              <a:extLst>
                <a:ext uri="{FF2B5EF4-FFF2-40B4-BE49-F238E27FC236}">
                  <a16:creationId xmlns:a16="http://schemas.microsoft.com/office/drawing/2014/main" id="{58377AA8-90E4-4B84-9606-F9F5411C5A58}"/>
                </a:ext>
              </a:extLst>
            </p:cNvPr>
            <p:cNvSpPr txBox="1"/>
            <p:nvPr/>
          </p:nvSpPr>
          <p:spPr>
            <a:xfrm>
              <a:off x="1955663" y="5268998"/>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Code or container</a:t>
              </a:r>
            </a:p>
          </p:txBody>
        </p:sp>
        <p:pic>
          <p:nvPicPr>
            <p:cNvPr id="169" name="Graphic 168">
              <a:extLst>
                <a:ext uri="{FF2B5EF4-FFF2-40B4-BE49-F238E27FC236}">
                  <a16:creationId xmlns:a16="http://schemas.microsoft.com/office/drawing/2014/main" id="{D1A7FD72-935C-4D0C-B525-58AAC8161D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69557" y="3651121"/>
              <a:ext cx="274320" cy="274320"/>
            </a:xfrm>
            <a:prstGeom prst="rect">
              <a:avLst/>
            </a:prstGeom>
          </p:spPr>
        </p:pic>
        <p:sp>
          <p:nvSpPr>
            <p:cNvPr id="170" name="TextBox 169">
              <a:extLst>
                <a:ext uri="{FF2B5EF4-FFF2-40B4-BE49-F238E27FC236}">
                  <a16:creationId xmlns:a16="http://schemas.microsoft.com/office/drawing/2014/main" id="{894AFD33-856E-4063-9424-6C5F2E66474E}"/>
                </a:ext>
              </a:extLst>
            </p:cNvPr>
            <p:cNvSpPr txBox="1"/>
            <p:nvPr/>
          </p:nvSpPr>
          <p:spPr>
            <a:xfrm>
              <a:off x="1953145" y="4348354"/>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Core Tools + favorite editor</a:t>
              </a:r>
            </a:p>
          </p:txBody>
        </p:sp>
        <p:pic>
          <p:nvPicPr>
            <p:cNvPr id="182" name="Graphic 181">
              <a:extLst>
                <a:ext uri="{FF2B5EF4-FFF2-40B4-BE49-F238E27FC236}">
                  <a16:creationId xmlns:a16="http://schemas.microsoft.com/office/drawing/2014/main" id="{9BFD16AC-62E8-4244-B5E1-ABCAD450F4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51425" y="5771331"/>
              <a:ext cx="274320" cy="274320"/>
            </a:xfrm>
            <a:prstGeom prst="rect">
              <a:avLst/>
            </a:prstGeom>
          </p:spPr>
        </p:pic>
        <p:pic>
          <p:nvPicPr>
            <p:cNvPr id="183" name="Graphic 182">
              <a:extLst>
                <a:ext uri="{FF2B5EF4-FFF2-40B4-BE49-F238E27FC236}">
                  <a16:creationId xmlns:a16="http://schemas.microsoft.com/office/drawing/2014/main" id="{86FC2DE6-49F2-4784-8BF6-CE208D689FA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423837" y="5870065"/>
              <a:ext cx="365760" cy="86319"/>
            </a:xfrm>
            <a:prstGeom prst="rect">
              <a:avLst/>
            </a:prstGeom>
          </p:spPr>
        </p:pic>
        <p:pic>
          <p:nvPicPr>
            <p:cNvPr id="184" name="Graphic 183">
              <a:extLst>
                <a:ext uri="{FF2B5EF4-FFF2-40B4-BE49-F238E27FC236}">
                  <a16:creationId xmlns:a16="http://schemas.microsoft.com/office/drawing/2014/main" id="{3053E11C-C1AA-459A-9FDE-A8756A8C593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869190" y="5771331"/>
              <a:ext cx="274320" cy="274320"/>
            </a:xfrm>
            <a:prstGeom prst="rect">
              <a:avLst/>
            </a:prstGeom>
          </p:spPr>
        </p:pic>
        <p:sp>
          <p:nvSpPr>
            <p:cNvPr id="187" name="TextBox 186">
              <a:extLst>
                <a:ext uri="{FF2B5EF4-FFF2-40B4-BE49-F238E27FC236}">
                  <a16:creationId xmlns:a16="http://schemas.microsoft.com/office/drawing/2014/main" id="{759F946C-429D-42BB-B447-A652C4D0497E}"/>
                </a:ext>
              </a:extLst>
            </p:cNvPr>
            <p:cNvSpPr txBox="1"/>
            <p:nvPr/>
          </p:nvSpPr>
          <p:spPr>
            <a:xfrm>
              <a:off x="1953145" y="6176832"/>
              <a:ext cx="1280160"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Windows, macOS, or Linux</a:t>
              </a:r>
            </a:p>
          </p:txBody>
        </p:sp>
        <p:pic>
          <p:nvPicPr>
            <p:cNvPr id="229" name="Graphic 228">
              <a:extLst>
                <a:ext uri="{FF2B5EF4-FFF2-40B4-BE49-F238E27FC236}">
                  <a16:creationId xmlns:a16="http://schemas.microsoft.com/office/drawing/2014/main" id="{6B328477-D0E4-41AF-9659-0FF25E56280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450443" y="4066412"/>
              <a:ext cx="274320" cy="268833"/>
            </a:xfrm>
            <a:prstGeom prst="rect">
              <a:avLst/>
            </a:prstGeom>
          </p:spPr>
        </p:pic>
        <p:pic>
          <p:nvPicPr>
            <p:cNvPr id="230" name="Graphic 229">
              <a:extLst>
                <a:ext uri="{FF2B5EF4-FFF2-40B4-BE49-F238E27FC236}">
                  <a16:creationId xmlns:a16="http://schemas.microsoft.com/office/drawing/2014/main" id="{45C72C51-2282-44D4-8419-E1B6EB15DD7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037276" y="4052180"/>
              <a:ext cx="274320" cy="279919"/>
            </a:xfrm>
            <a:prstGeom prst="rect">
              <a:avLst/>
            </a:prstGeom>
          </p:spPr>
        </p:pic>
        <p:sp>
          <p:nvSpPr>
            <p:cNvPr id="231" name="Rectangle 230">
              <a:extLst>
                <a:ext uri="{FF2B5EF4-FFF2-40B4-BE49-F238E27FC236}">
                  <a16:creationId xmlns:a16="http://schemas.microsoft.com/office/drawing/2014/main" id="{19CE9A16-B916-49D4-BC3D-E4D222FF8845}"/>
                </a:ext>
              </a:extLst>
            </p:cNvPr>
            <p:cNvSpPr/>
            <p:nvPr/>
          </p:nvSpPr>
          <p:spPr bwMode="auto">
            <a:xfrm>
              <a:off x="2891484" y="4057779"/>
              <a:ext cx="274320" cy="2743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dirty="0">
                  <a:solidFill>
                    <a:sysClr val="windowText" lastClr="000000"/>
                  </a:solidFill>
                  <a:latin typeface="Segoe UI"/>
                </a:rPr>
                <a:t>●●●</a:t>
              </a:r>
            </a:p>
          </p:txBody>
        </p:sp>
        <p:sp>
          <p:nvSpPr>
            <p:cNvPr id="232" name="Rectangle 231">
              <a:extLst>
                <a:ext uri="{FF2B5EF4-FFF2-40B4-BE49-F238E27FC236}">
                  <a16:creationId xmlns:a16="http://schemas.microsoft.com/office/drawing/2014/main" id="{00CD36DC-57FB-4E44-A60D-0561DF48E990}"/>
                </a:ext>
              </a:extLst>
            </p:cNvPr>
            <p:cNvSpPr/>
            <p:nvPr/>
          </p:nvSpPr>
          <p:spPr bwMode="auto">
            <a:xfrm>
              <a:off x="2449696" y="3925441"/>
              <a:ext cx="274320" cy="1409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dirty="0">
                  <a:solidFill>
                    <a:sysClr val="windowText" lastClr="000000"/>
                  </a:solidFill>
                  <a:latin typeface="Segoe UI"/>
                </a:rPr>
                <a:t>+</a:t>
              </a:r>
            </a:p>
          </p:txBody>
        </p:sp>
      </p:grpSp>
      <p:grpSp>
        <p:nvGrpSpPr>
          <p:cNvPr id="271" name="Group 270">
            <a:extLst>
              <a:ext uri="{FF2B5EF4-FFF2-40B4-BE49-F238E27FC236}">
                <a16:creationId xmlns:a16="http://schemas.microsoft.com/office/drawing/2014/main" id="{2DBA5167-7748-4A97-9B35-3A5AECD5C683}"/>
              </a:ext>
            </a:extLst>
          </p:cNvPr>
          <p:cNvGrpSpPr/>
          <p:nvPr/>
        </p:nvGrpSpPr>
        <p:grpSpPr>
          <a:xfrm>
            <a:off x="1998153" y="1462925"/>
            <a:ext cx="3473413" cy="422332"/>
            <a:chOff x="3703586" y="6510650"/>
            <a:chExt cx="3405616" cy="414089"/>
          </a:xfrm>
        </p:grpSpPr>
        <p:sp>
          <p:nvSpPr>
            <p:cNvPr id="272" name="Rectangle 271">
              <a:extLst>
                <a:ext uri="{FF2B5EF4-FFF2-40B4-BE49-F238E27FC236}">
                  <a16:creationId xmlns:a16="http://schemas.microsoft.com/office/drawing/2014/main" id="{395F2269-BE9E-432D-B898-ED4D6893EABF}"/>
                </a:ext>
              </a:extLst>
            </p:cNvPr>
            <p:cNvSpPr/>
            <p:nvPr/>
          </p:nvSpPr>
          <p:spPr>
            <a:xfrm>
              <a:off x="4063175" y="6510651"/>
              <a:ext cx="3046027" cy="414088"/>
            </a:xfrm>
            <a:prstGeom prst="rect">
              <a:avLst/>
            </a:prstGeom>
          </p:spPr>
          <p:txBody>
            <a:bodyPr wrap="none">
              <a:spAutoFit/>
            </a:bodyPr>
            <a:lstStyle/>
            <a:p>
              <a:pPr defTabSz="932563">
                <a:defRPr/>
              </a:pPr>
              <a:r>
                <a:rPr lang="en-US" sz="1071" dirty="0">
                  <a:solidFill>
                    <a:srgbClr val="1A1A1A"/>
                  </a:solidFill>
                  <a:latin typeface="Segoe UI"/>
                </a:rPr>
                <a:t>https://github.com/azure/azure-functions-host </a:t>
              </a:r>
            </a:p>
            <a:p>
              <a:pPr algn="ctr" defTabSz="932563">
                <a:defRPr/>
              </a:pPr>
              <a:r>
                <a:rPr lang="en-US" sz="1020" dirty="0">
                  <a:solidFill>
                    <a:srgbClr val="1A1A1A"/>
                  </a:solidFill>
                  <a:latin typeface="Segoe UI"/>
                </a:rPr>
                <a:t>(+other repos)</a:t>
              </a:r>
            </a:p>
          </p:txBody>
        </p:sp>
        <p:pic>
          <p:nvPicPr>
            <p:cNvPr id="273" name="Graphic 272">
              <a:extLst>
                <a:ext uri="{FF2B5EF4-FFF2-40B4-BE49-F238E27FC236}">
                  <a16:creationId xmlns:a16="http://schemas.microsoft.com/office/drawing/2014/main" id="{6606E0FB-B7C6-4220-9D9D-42C25BC726B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703586" y="6510650"/>
              <a:ext cx="365760" cy="365760"/>
            </a:xfrm>
            <a:prstGeom prst="rect">
              <a:avLst/>
            </a:prstGeom>
          </p:spPr>
        </p:pic>
      </p:grpSp>
      <p:sp>
        <p:nvSpPr>
          <p:cNvPr id="274" name="Rectangle 273">
            <a:extLst>
              <a:ext uri="{FF2B5EF4-FFF2-40B4-BE49-F238E27FC236}">
                <a16:creationId xmlns:a16="http://schemas.microsoft.com/office/drawing/2014/main" id="{B9EE4228-C173-4076-91B7-C418C2B99AA6}"/>
              </a:ext>
            </a:extLst>
          </p:cNvPr>
          <p:cNvSpPr/>
          <p:nvPr/>
        </p:nvSpPr>
        <p:spPr bwMode="auto">
          <a:xfrm>
            <a:off x="1998153" y="1878847"/>
            <a:ext cx="1304447"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solidFill>
                  <a:srgbClr val="1A1A1A"/>
                </a:solidFill>
                <a:latin typeface="Segoe UI"/>
              </a:rPr>
              <a:t>Azure Functions host runtime</a:t>
            </a:r>
          </a:p>
        </p:txBody>
      </p:sp>
      <p:sp>
        <p:nvSpPr>
          <p:cNvPr id="275" name="Rectangle 274">
            <a:extLst>
              <a:ext uri="{FF2B5EF4-FFF2-40B4-BE49-F238E27FC236}">
                <a16:creationId xmlns:a16="http://schemas.microsoft.com/office/drawing/2014/main" id="{EAE162AE-4FBE-4FD6-B023-D8FA7F4A9E84}"/>
              </a:ext>
            </a:extLst>
          </p:cNvPr>
          <p:cNvSpPr/>
          <p:nvPr/>
        </p:nvSpPr>
        <p:spPr bwMode="auto">
          <a:xfrm>
            <a:off x="1998154" y="1878847"/>
            <a:ext cx="9697665" cy="465998"/>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122" dirty="0">
              <a:gradFill>
                <a:gsLst>
                  <a:gs pos="40075">
                    <a:srgbClr val="FFFFFF"/>
                  </a:gs>
                  <a:gs pos="30000">
                    <a:srgbClr val="FFFFFF"/>
                  </a:gs>
                </a:gsLst>
                <a:lin ang="5400000" scaled="0"/>
              </a:gradFill>
              <a:latin typeface="Segoe UI"/>
            </a:endParaRPr>
          </a:p>
        </p:txBody>
      </p:sp>
      <p:sp>
        <p:nvSpPr>
          <p:cNvPr id="276" name="Rectangle 275">
            <a:extLst>
              <a:ext uri="{FF2B5EF4-FFF2-40B4-BE49-F238E27FC236}">
                <a16:creationId xmlns:a16="http://schemas.microsoft.com/office/drawing/2014/main" id="{D8B3144E-F845-4628-84EB-0FA1DB7720AC}"/>
              </a:ext>
            </a:extLst>
          </p:cNvPr>
          <p:cNvSpPr/>
          <p:nvPr/>
        </p:nvSpPr>
        <p:spPr bwMode="auto">
          <a:xfrm>
            <a:off x="3384916" y="1878847"/>
            <a:ext cx="1304447"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solidFill>
                  <a:srgbClr val="1A1A1A"/>
                </a:solidFill>
                <a:latin typeface="Segoe UI"/>
              </a:rPr>
              <a:t>Azure Functions Core Tools</a:t>
            </a:r>
          </a:p>
        </p:txBody>
      </p:sp>
      <p:sp>
        <p:nvSpPr>
          <p:cNvPr id="278" name="Rectangle 277">
            <a:extLst>
              <a:ext uri="{FF2B5EF4-FFF2-40B4-BE49-F238E27FC236}">
                <a16:creationId xmlns:a16="http://schemas.microsoft.com/office/drawing/2014/main" id="{C247554C-6217-49DC-8278-1B98264CE546}"/>
              </a:ext>
            </a:extLst>
          </p:cNvPr>
          <p:cNvSpPr/>
          <p:nvPr/>
        </p:nvSpPr>
        <p:spPr bwMode="auto">
          <a:xfrm>
            <a:off x="4799229" y="1878847"/>
            <a:ext cx="1305645"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solidFill>
                  <a:srgbClr val="1A1A1A"/>
                </a:solidFill>
                <a:latin typeface="Segoe UI"/>
              </a:rPr>
              <a:t>Azure Functions base Docker image</a:t>
            </a:r>
          </a:p>
        </p:txBody>
      </p:sp>
      <p:sp>
        <p:nvSpPr>
          <p:cNvPr id="372" name="Rectangle 371">
            <a:extLst>
              <a:ext uri="{FF2B5EF4-FFF2-40B4-BE49-F238E27FC236}">
                <a16:creationId xmlns:a16="http://schemas.microsoft.com/office/drawing/2014/main" id="{DC963CF5-5434-43E5-BE95-470255309F92}"/>
              </a:ext>
            </a:extLst>
          </p:cNvPr>
          <p:cNvSpPr/>
          <p:nvPr/>
        </p:nvSpPr>
        <p:spPr bwMode="auto">
          <a:xfrm>
            <a:off x="6180269" y="1878847"/>
            <a:ext cx="1305646"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solidFill>
                  <a:srgbClr val="1A1A1A"/>
                </a:solidFill>
                <a:latin typeface="Segoe UI"/>
              </a:rPr>
              <a:t>Azure Functions .NET Docker image</a:t>
            </a:r>
          </a:p>
        </p:txBody>
      </p:sp>
      <p:sp>
        <p:nvSpPr>
          <p:cNvPr id="373" name="Rectangle 372">
            <a:extLst>
              <a:ext uri="{FF2B5EF4-FFF2-40B4-BE49-F238E27FC236}">
                <a16:creationId xmlns:a16="http://schemas.microsoft.com/office/drawing/2014/main" id="{9606F94A-3188-4E4B-849C-03D9E1867CC2}"/>
              </a:ext>
            </a:extLst>
          </p:cNvPr>
          <p:cNvSpPr/>
          <p:nvPr/>
        </p:nvSpPr>
        <p:spPr bwMode="auto">
          <a:xfrm>
            <a:off x="7580709" y="1878847"/>
            <a:ext cx="1305646"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solidFill>
                  <a:srgbClr val="1A1A1A"/>
                </a:solidFill>
                <a:latin typeface="Segoe UI"/>
              </a:rPr>
              <a:t>Azure Functions Node Docker image</a:t>
            </a:r>
          </a:p>
        </p:txBody>
      </p:sp>
      <p:sp>
        <p:nvSpPr>
          <p:cNvPr id="374" name="Rectangle 373">
            <a:extLst>
              <a:ext uri="{FF2B5EF4-FFF2-40B4-BE49-F238E27FC236}">
                <a16:creationId xmlns:a16="http://schemas.microsoft.com/office/drawing/2014/main" id="{41A4B708-5D24-47D7-94C7-1000AF9E9DC0}"/>
              </a:ext>
            </a:extLst>
          </p:cNvPr>
          <p:cNvSpPr/>
          <p:nvPr/>
        </p:nvSpPr>
        <p:spPr bwMode="auto">
          <a:xfrm>
            <a:off x="8975788" y="1878847"/>
            <a:ext cx="1305646"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dirty="0">
                <a:solidFill>
                  <a:sysClr val="windowText" lastClr="000000"/>
                </a:solidFill>
                <a:latin typeface="Segoe UI"/>
              </a:rPr>
              <a:t>●●●</a:t>
            </a:r>
            <a:endParaRPr lang="en-US" sz="1122" dirty="0">
              <a:solidFill>
                <a:srgbClr val="1A1A1A"/>
              </a:solidFill>
              <a:latin typeface="Segoe UI"/>
            </a:endParaRPr>
          </a:p>
        </p:txBody>
      </p:sp>
      <p:cxnSp>
        <p:nvCxnSpPr>
          <p:cNvPr id="377" name="Straight Arrow Connector 376">
            <a:extLst>
              <a:ext uri="{FF2B5EF4-FFF2-40B4-BE49-F238E27FC236}">
                <a16:creationId xmlns:a16="http://schemas.microsoft.com/office/drawing/2014/main" id="{9B1996A6-0E33-4E32-82D7-EF738E114A5B}"/>
              </a:ext>
            </a:extLst>
          </p:cNvPr>
          <p:cNvCxnSpPr>
            <a:stCxn id="274" idx="2"/>
            <a:endCxn id="209" idx="0"/>
          </p:cNvCxnSpPr>
          <p:nvPr/>
        </p:nvCxnSpPr>
        <p:spPr>
          <a:xfrm flipH="1">
            <a:off x="2649778" y="2344845"/>
            <a:ext cx="599" cy="281511"/>
          </a:xfrm>
          <a:prstGeom prst="straightConnector1">
            <a:avLst/>
          </a:prstGeom>
          <a:ln>
            <a:headEnd type="none" w="lg" len="med"/>
            <a:tailEnd type="triangle"/>
          </a:ln>
        </p:spPr>
        <p:style>
          <a:lnRef idx="1">
            <a:schemeClr val="accent2"/>
          </a:lnRef>
          <a:fillRef idx="0">
            <a:schemeClr val="accent2"/>
          </a:fillRef>
          <a:effectRef idx="0">
            <a:schemeClr val="accent2"/>
          </a:effectRef>
          <a:fontRef idx="minor">
            <a:schemeClr val="tx1"/>
          </a:fontRef>
        </p:style>
      </p:cxnSp>
      <p:cxnSp>
        <p:nvCxnSpPr>
          <p:cNvPr id="379" name="Connector: Elbow 378">
            <a:extLst>
              <a:ext uri="{FF2B5EF4-FFF2-40B4-BE49-F238E27FC236}">
                <a16:creationId xmlns:a16="http://schemas.microsoft.com/office/drawing/2014/main" id="{AFFCF5F3-04CE-4E2E-AE2C-A65CBC8CA830}"/>
              </a:ext>
            </a:extLst>
          </p:cNvPr>
          <p:cNvCxnSpPr>
            <a:cxnSpLocks/>
            <a:stCxn id="274" idx="2"/>
            <a:endCxn id="212" idx="0"/>
          </p:cNvCxnSpPr>
          <p:nvPr/>
        </p:nvCxnSpPr>
        <p:spPr>
          <a:xfrm rot="16200000" flipH="1">
            <a:off x="4956476" y="38746"/>
            <a:ext cx="283064" cy="4895262"/>
          </a:xfrm>
          <a:prstGeom prst="bentConnector3">
            <a:avLst>
              <a:gd name="adj1" fmla="val 50000"/>
            </a:avLst>
          </a:prstGeom>
          <a:ln>
            <a:headEnd type="none" w="lg"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080682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1"/>
                                        </p:tgtEl>
                                        <p:attrNameLst>
                                          <p:attrName>style.visibility</p:attrName>
                                        </p:attrNameLst>
                                      </p:cBhvr>
                                      <p:to>
                                        <p:strVal val="visible"/>
                                      </p:to>
                                    </p:set>
                                    <p:animEffect transition="in" filter="fade">
                                      <p:cBhvr>
                                        <p:cTn id="7" dur="500"/>
                                        <p:tgtEl>
                                          <p:spTgt spid="27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5"/>
                                        </p:tgtEl>
                                        <p:attrNameLst>
                                          <p:attrName>style.visibility</p:attrName>
                                        </p:attrNameLst>
                                      </p:cBhvr>
                                      <p:to>
                                        <p:strVal val="visible"/>
                                      </p:to>
                                    </p:set>
                                    <p:animEffect transition="in" filter="fade">
                                      <p:cBhvr>
                                        <p:cTn id="12" dur="500"/>
                                        <p:tgtEl>
                                          <p:spTgt spid="275"/>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274"/>
                                        </p:tgtEl>
                                        <p:attrNameLst>
                                          <p:attrName>style.visibility</p:attrName>
                                        </p:attrNameLst>
                                      </p:cBhvr>
                                      <p:to>
                                        <p:strVal val="visible"/>
                                      </p:to>
                                    </p:set>
                                    <p:animEffect transition="in" filter="fade">
                                      <p:cBhvr>
                                        <p:cTn id="16" dur="500"/>
                                        <p:tgtEl>
                                          <p:spTgt spid="274"/>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276"/>
                                        </p:tgtEl>
                                        <p:attrNameLst>
                                          <p:attrName>style.visibility</p:attrName>
                                        </p:attrNameLst>
                                      </p:cBhvr>
                                      <p:to>
                                        <p:strVal val="visible"/>
                                      </p:to>
                                    </p:set>
                                    <p:animEffect transition="in" filter="fade">
                                      <p:cBhvr>
                                        <p:cTn id="20" dur="500"/>
                                        <p:tgtEl>
                                          <p:spTgt spid="276"/>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278"/>
                                        </p:tgtEl>
                                        <p:attrNameLst>
                                          <p:attrName>style.visibility</p:attrName>
                                        </p:attrNameLst>
                                      </p:cBhvr>
                                      <p:to>
                                        <p:strVal val="visible"/>
                                      </p:to>
                                    </p:set>
                                    <p:animEffect transition="in" filter="fade">
                                      <p:cBhvr>
                                        <p:cTn id="24" dur="500"/>
                                        <p:tgtEl>
                                          <p:spTgt spid="278"/>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372"/>
                                        </p:tgtEl>
                                        <p:attrNameLst>
                                          <p:attrName>style.visibility</p:attrName>
                                        </p:attrNameLst>
                                      </p:cBhvr>
                                      <p:to>
                                        <p:strVal val="visible"/>
                                      </p:to>
                                    </p:set>
                                    <p:animEffect transition="in" filter="fade">
                                      <p:cBhvr>
                                        <p:cTn id="28" dur="500"/>
                                        <p:tgtEl>
                                          <p:spTgt spid="372"/>
                                        </p:tgtEl>
                                      </p:cBhvr>
                                    </p:animEffect>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373"/>
                                        </p:tgtEl>
                                        <p:attrNameLst>
                                          <p:attrName>style.visibility</p:attrName>
                                        </p:attrNameLst>
                                      </p:cBhvr>
                                      <p:to>
                                        <p:strVal val="visible"/>
                                      </p:to>
                                    </p:set>
                                    <p:animEffect transition="in" filter="fade">
                                      <p:cBhvr>
                                        <p:cTn id="32" dur="500"/>
                                        <p:tgtEl>
                                          <p:spTgt spid="373"/>
                                        </p:tgtEl>
                                      </p:cBhvr>
                                    </p:animEffect>
                                  </p:childTnLst>
                                </p:cTn>
                              </p:par>
                            </p:childTnLst>
                          </p:cTn>
                        </p:par>
                        <p:par>
                          <p:cTn id="33" fill="hold">
                            <p:stCondLst>
                              <p:cond delay="3000"/>
                            </p:stCondLst>
                            <p:childTnLst>
                              <p:par>
                                <p:cTn id="34" presetID="10" presetClass="entr" presetSubtype="0" fill="hold" grpId="0" nodeType="afterEffect">
                                  <p:stCondLst>
                                    <p:cond delay="0"/>
                                  </p:stCondLst>
                                  <p:childTnLst>
                                    <p:set>
                                      <p:cBhvr>
                                        <p:cTn id="35" dur="1" fill="hold">
                                          <p:stCondLst>
                                            <p:cond delay="0"/>
                                          </p:stCondLst>
                                        </p:cTn>
                                        <p:tgtEl>
                                          <p:spTgt spid="374"/>
                                        </p:tgtEl>
                                        <p:attrNameLst>
                                          <p:attrName>style.visibility</p:attrName>
                                        </p:attrNameLst>
                                      </p:cBhvr>
                                      <p:to>
                                        <p:strVal val="visible"/>
                                      </p:to>
                                    </p:set>
                                    <p:animEffect transition="in" filter="fade">
                                      <p:cBhvr>
                                        <p:cTn id="36" dur="500"/>
                                        <p:tgtEl>
                                          <p:spTgt spid="37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379"/>
                                        </p:tgtEl>
                                        <p:attrNameLst>
                                          <p:attrName>style.visibility</p:attrName>
                                        </p:attrNameLst>
                                      </p:cBhvr>
                                      <p:to>
                                        <p:strVal val="visible"/>
                                      </p:to>
                                    </p:set>
                                    <p:animEffect transition="in" filter="fade">
                                      <p:cBhvr>
                                        <p:cTn id="41" dur="500"/>
                                        <p:tgtEl>
                                          <p:spTgt spid="379"/>
                                        </p:tgtEl>
                                      </p:cBhvr>
                                    </p:animEffect>
                                  </p:childTnLst>
                                </p:cTn>
                              </p:par>
                              <p:par>
                                <p:cTn id="42" presetID="10" presetClass="entr" presetSubtype="0" fill="hold" nodeType="withEffect">
                                  <p:stCondLst>
                                    <p:cond delay="0"/>
                                  </p:stCondLst>
                                  <p:childTnLst>
                                    <p:set>
                                      <p:cBhvr>
                                        <p:cTn id="43" dur="1" fill="hold">
                                          <p:stCondLst>
                                            <p:cond delay="0"/>
                                          </p:stCondLst>
                                        </p:cTn>
                                        <p:tgtEl>
                                          <p:spTgt spid="377"/>
                                        </p:tgtEl>
                                        <p:attrNameLst>
                                          <p:attrName>style.visibility</p:attrName>
                                        </p:attrNameLst>
                                      </p:cBhvr>
                                      <p:to>
                                        <p:strVal val="visible"/>
                                      </p:to>
                                    </p:set>
                                    <p:animEffect transition="in" filter="fade">
                                      <p:cBhvr>
                                        <p:cTn id="44" dur="500"/>
                                        <p:tgtEl>
                                          <p:spTgt spid="37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09"/>
                                        </p:tgtEl>
                                        <p:attrNameLst>
                                          <p:attrName>style.visibility</p:attrName>
                                        </p:attrNameLst>
                                      </p:cBhvr>
                                      <p:to>
                                        <p:strVal val="visible"/>
                                      </p:to>
                                    </p:set>
                                    <p:animEffect transition="in" filter="fade">
                                      <p:cBhvr>
                                        <p:cTn id="47" dur="500"/>
                                        <p:tgtEl>
                                          <p:spTgt spid="20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12"/>
                                        </p:tgtEl>
                                        <p:attrNameLst>
                                          <p:attrName>style.visibility</p:attrName>
                                        </p:attrNameLst>
                                      </p:cBhvr>
                                      <p:to>
                                        <p:strVal val="visible"/>
                                      </p:to>
                                    </p:set>
                                    <p:animEffect transition="in" filter="fade">
                                      <p:cBhvr>
                                        <p:cTn id="50" dur="500"/>
                                        <p:tgtEl>
                                          <p:spTgt spid="212"/>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fade">
                                      <p:cBhvr>
                                        <p:cTn id="55" dur="500"/>
                                        <p:tgtEl>
                                          <p:spTgt spid="7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80"/>
                                        </p:tgtEl>
                                        <p:attrNameLst>
                                          <p:attrName>style.visibility</p:attrName>
                                        </p:attrNameLst>
                                      </p:cBhvr>
                                      <p:to>
                                        <p:strVal val="visible"/>
                                      </p:to>
                                    </p:set>
                                    <p:animEffect transition="in" filter="fade">
                                      <p:cBhvr>
                                        <p:cTn id="61" dur="500"/>
                                        <p:tgtEl>
                                          <p:spTgt spid="80"/>
                                        </p:tgtEl>
                                      </p:cBhvr>
                                    </p:animEffect>
                                  </p:childTnLst>
                                </p:cTn>
                              </p:par>
                            </p:childTnLst>
                          </p:cTn>
                        </p:par>
                        <p:par>
                          <p:cTn id="62" fill="hold">
                            <p:stCondLst>
                              <p:cond delay="500"/>
                            </p:stCondLst>
                            <p:childTnLst>
                              <p:par>
                                <p:cTn id="63" presetID="2" presetClass="entr" presetSubtype="2" fill="hold" nodeType="afterEffect">
                                  <p:stCondLst>
                                    <p:cond delay="0"/>
                                  </p:stCondLst>
                                  <p:childTnLst>
                                    <p:set>
                                      <p:cBhvr>
                                        <p:cTn id="64" dur="1" fill="hold">
                                          <p:stCondLst>
                                            <p:cond delay="0"/>
                                          </p:stCondLst>
                                        </p:cTn>
                                        <p:tgtEl>
                                          <p:spTgt spid="383"/>
                                        </p:tgtEl>
                                        <p:attrNameLst>
                                          <p:attrName>style.visibility</p:attrName>
                                        </p:attrNameLst>
                                      </p:cBhvr>
                                      <p:to>
                                        <p:strVal val="visible"/>
                                      </p:to>
                                    </p:set>
                                    <p:anim calcmode="lin" valueType="num">
                                      <p:cBhvr additive="base">
                                        <p:cTn id="65" dur="500" fill="hold"/>
                                        <p:tgtEl>
                                          <p:spTgt spid="383"/>
                                        </p:tgtEl>
                                        <p:attrNameLst>
                                          <p:attrName>ppt_x</p:attrName>
                                        </p:attrNameLst>
                                      </p:cBhvr>
                                      <p:tavLst>
                                        <p:tav tm="0">
                                          <p:val>
                                            <p:strVal val="1+#ppt_w/2"/>
                                          </p:val>
                                        </p:tav>
                                        <p:tav tm="100000">
                                          <p:val>
                                            <p:strVal val="#ppt_x"/>
                                          </p:val>
                                        </p:tav>
                                      </p:tavLst>
                                    </p:anim>
                                    <p:anim calcmode="lin" valueType="num">
                                      <p:cBhvr additive="base">
                                        <p:cTn id="66" dur="500" fill="hold"/>
                                        <p:tgtEl>
                                          <p:spTgt spid="383"/>
                                        </p:tgtEl>
                                        <p:attrNameLst>
                                          <p:attrName>ppt_y</p:attrName>
                                        </p:attrNameLst>
                                      </p:cBhvr>
                                      <p:tavLst>
                                        <p:tav tm="0">
                                          <p:val>
                                            <p:strVal val="#ppt_y"/>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2" fill="hold" nodeType="clickEffect">
                                  <p:stCondLst>
                                    <p:cond delay="0"/>
                                  </p:stCondLst>
                                  <p:childTnLst>
                                    <p:set>
                                      <p:cBhvr>
                                        <p:cTn id="70" dur="1" fill="hold">
                                          <p:stCondLst>
                                            <p:cond delay="0"/>
                                          </p:stCondLst>
                                        </p:cTn>
                                        <p:tgtEl>
                                          <p:spTgt spid="384"/>
                                        </p:tgtEl>
                                        <p:attrNameLst>
                                          <p:attrName>style.visibility</p:attrName>
                                        </p:attrNameLst>
                                      </p:cBhvr>
                                      <p:to>
                                        <p:strVal val="visible"/>
                                      </p:to>
                                    </p:set>
                                    <p:anim calcmode="lin" valueType="num">
                                      <p:cBhvr additive="base">
                                        <p:cTn id="71" dur="500" fill="hold"/>
                                        <p:tgtEl>
                                          <p:spTgt spid="384"/>
                                        </p:tgtEl>
                                        <p:attrNameLst>
                                          <p:attrName>ppt_x</p:attrName>
                                        </p:attrNameLst>
                                      </p:cBhvr>
                                      <p:tavLst>
                                        <p:tav tm="0">
                                          <p:val>
                                            <p:strVal val="1+#ppt_w/2"/>
                                          </p:val>
                                        </p:tav>
                                        <p:tav tm="100000">
                                          <p:val>
                                            <p:strVal val="#ppt_x"/>
                                          </p:val>
                                        </p:tav>
                                      </p:tavLst>
                                    </p:anim>
                                    <p:anim calcmode="lin" valueType="num">
                                      <p:cBhvr additive="base">
                                        <p:cTn id="72" dur="500" fill="hold"/>
                                        <p:tgtEl>
                                          <p:spTgt spid="384"/>
                                        </p:tgtEl>
                                        <p:attrNameLst>
                                          <p:attrName>ppt_y</p:attrName>
                                        </p:attrNameLst>
                                      </p:cBhvr>
                                      <p:tavLst>
                                        <p:tav tm="0">
                                          <p:val>
                                            <p:strVal val="#ppt_y"/>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2" fill="hold" nodeType="clickEffect">
                                  <p:stCondLst>
                                    <p:cond delay="0"/>
                                  </p:stCondLst>
                                  <p:childTnLst>
                                    <p:set>
                                      <p:cBhvr>
                                        <p:cTn id="76" dur="1" fill="hold">
                                          <p:stCondLst>
                                            <p:cond delay="0"/>
                                          </p:stCondLst>
                                        </p:cTn>
                                        <p:tgtEl>
                                          <p:spTgt spid="385"/>
                                        </p:tgtEl>
                                        <p:attrNameLst>
                                          <p:attrName>style.visibility</p:attrName>
                                        </p:attrNameLst>
                                      </p:cBhvr>
                                      <p:to>
                                        <p:strVal val="visible"/>
                                      </p:to>
                                    </p:set>
                                    <p:anim calcmode="lin" valueType="num">
                                      <p:cBhvr additive="base">
                                        <p:cTn id="77" dur="500" fill="hold"/>
                                        <p:tgtEl>
                                          <p:spTgt spid="385"/>
                                        </p:tgtEl>
                                        <p:attrNameLst>
                                          <p:attrName>ppt_x</p:attrName>
                                        </p:attrNameLst>
                                      </p:cBhvr>
                                      <p:tavLst>
                                        <p:tav tm="0">
                                          <p:val>
                                            <p:strVal val="1+#ppt_w/2"/>
                                          </p:val>
                                        </p:tav>
                                        <p:tav tm="100000">
                                          <p:val>
                                            <p:strVal val="#ppt_x"/>
                                          </p:val>
                                        </p:tav>
                                      </p:tavLst>
                                    </p:anim>
                                    <p:anim calcmode="lin" valueType="num">
                                      <p:cBhvr additive="base">
                                        <p:cTn id="78" dur="500" fill="hold"/>
                                        <p:tgtEl>
                                          <p:spTgt spid="385"/>
                                        </p:tgtEl>
                                        <p:attrNameLst>
                                          <p:attrName>ppt_y</p:attrName>
                                        </p:attrNameLst>
                                      </p:cBhvr>
                                      <p:tavLst>
                                        <p:tav tm="0">
                                          <p:val>
                                            <p:strVal val="#ppt_y"/>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2" fill="hold" nodeType="clickEffect">
                                  <p:stCondLst>
                                    <p:cond delay="0"/>
                                  </p:stCondLst>
                                  <p:childTnLst>
                                    <p:set>
                                      <p:cBhvr>
                                        <p:cTn id="82" dur="1" fill="hold">
                                          <p:stCondLst>
                                            <p:cond delay="0"/>
                                          </p:stCondLst>
                                        </p:cTn>
                                        <p:tgtEl>
                                          <p:spTgt spid="386"/>
                                        </p:tgtEl>
                                        <p:attrNameLst>
                                          <p:attrName>style.visibility</p:attrName>
                                        </p:attrNameLst>
                                      </p:cBhvr>
                                      <p:to>
                                        <p:strVal val="visible"/>
                                      </p:to>
                                    </p:set>
                                    <p:anim calcmode="lin" valueType="num">
                                      <p:cBhvr additive="base">
                                        <p:cTn id="83" dur="500" fill="hold"/>
                                        <p:tgtEl>
                                          <p:spTgt spid="386"/>
                                        </p:tgtEl>
                                        <p:attrNameLst>
                                          <p:attrName>ppt_x</p:attrName>
                                        </p:attrNameLst>
                                      </p:cBhvr>
                                      <p:tavLst>
                                        <p:tav tm="0">
                                          <p:val>
                                            <p:strVal val="1+#ppt_w/2"/>
                                          </p:val>
                                        </p:tav>
                                        <p:tav tm="100000">
                                          <p:val>
                                            <p:strVal val="#ppt_x"/>
                                          </p:val>
                                        </p:tav>
                                      </p:tavLst>
                                    </p:anim>
                                    <p:anim calcmode="lin" valueType="num">
                                      <p:cBhvr additive="base">
                                        <p:cTn id="84" dur="500" fill="hold"/>
                                        <p:tgtEl>
                                          <p:spTgt spid="386"/>
                                        </p:tgtEl>
                                        <p:attrNameLst>
                                          <p:attrName>ppt_y</p:attrName>
                                        </p:attrNameLst>
                                      </p:cBhvr>
                                      <p:tavLst>
                                        <p:tav tm="0">
                                          <p:val>
                                            <p:strVal val="#ppt_y"/>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2" fill="hold" nodeType="clickEffect">
                                  <p:stCondLst>
                                    <p:cond delay="0"/>
                                  </p:stCondLst>
                                  <p:childTnLst>
                                    <p:set>
                                      <p:cBhvr>
                                        <p:cTn id="88" dur="1" fill="hold">
                                          <p:stCondLst>
                                            <p:cond delay="0"/>
                                          </p:stCondLst>
                                        </p:cTn>
                                        <p:tgtEl>
                                          <p:spTgt spid="387"/>
                                        </p:tgtEl>
                                        <p:attrNameLst>
                                          <p:attrName>style.visibility</p:attrName>
                                        </p:attrNameLst>
                                      </p:cBhvr>
                                      <p:to>
                                        <p:strVal val="visible"/>
                                      </p:to>
                                    </p:set>
                                    <p:anim calcmode="lin" valueType="num">
                                      <p:cBhvr additive="base">
                                        <p:cTn id="89" dur="500" fill="hold"/>
                                        <p:tgtEl>
                                          <p:spTgt spid="387"/>
                                        </p:tgtEl>
                                        <p:attrNameLst>
                                          <p:attrName>ppt_x</p:attrName>
                                        </p:attrNameLst>
                                      </p:cBhvr>
                                      <p:tavLst>
                                        <p:tav tm="0">
                                          <p:val>
                                            <p:strVal val="1+#ppt_w/2"/>
                                          </p:val>
                                        </p:tav>
                                        <p:tav tm="100000">
                                          <p:val>
                                            <p:strVal val="#ppt_x"/>
                                          </p:val>
                                        </p:tav>
                                      </p:tavLst>
                                    </p:anim>
                                    <p:anim calcmode="lin" valueType="num">
                                      <p:cBhvr additive="base">
                                        <p:cTn id="90" dur="500" fill="hold"/>
                                        <p:tgtEl>
                                          <p:spTgt spid="387"/>
                                        </p:tgtEl>
                                        <p:attrNameLst>
                                          <p:attrName>ppt_y</p:attrName>
                                        </p:attrNameLst>
                                      </p:cBhvr>
                                      <p:tavLst>
                                        <p:tav tm="0">
                                          <p:val>
                                            <p:strVal val="#ppt_y"/>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2" fill="hold" nodeType="clickEffect">
                                  <p:stCondLst>
                                    <p:cond delay="0"/>
                                  </p:stCondLst>
                                  <p:childTnLst>
                                    <p:set>
                                      <p:cBhvr>
                                        <p:cTn id="94" dur="1" fill="hold">
                                          <p:stCondLst>
                                            <p:cond delay="0"/>
                                          </p:stCondLst>
                                        </p:cTn>
                                        <p:tgtEl>
                                          <p:spTgt spid="388"/>
                                        </p:tgtEl>
                                        <p:attrNameLst>
                                          <p:attrName>style.visibility</p:attrName>
                                        </p:attrNameLst>
                                      </p:cBhvr>
                                      <p:to>
                                        <p:strVal val="visible"/>
                                      </p:to>
                                    </p:set>
                                    <p:anim calcmode="lin" valueType="num">
                                      <p:cBhvr additive="base">
                                        <p:cTn id="95" dur="500" fill="hold"/>
                                        <p:tgtEl>
                                          <p:spTgt spid="388"/>
                                        </p:tgtEl>
                                        <p:attrNameLst>
                                          <p:attrName>ppt_x</p:attrName>
                                        </p:attrNameLst>
                                      </p:cBhvr>
                                      <p:tavLst>
                                        <p:tav tm="0">
                                          <p:val>
                                            <p:strVal val="1+#ppt_w/2"/>
                                          </p:val>
                                        </p:tav>
                                        <p:tav tm="100000">
                                          <p:val>
                                            <p:strVal val="#ppt_x"/>
                                          </p:val>
                                        </p:tav>
                                      </p:tavLst>
                                    </p:anim>
                                    <p:anim calcmode="lin" valueType="num">
                                      <p:cBhvr additive="base">
                                        <p:cTn id="96" dur="500" fill="hold"/>
                                        <p:tgtEl>
                                          <p:spTgt spid="388"/>
                                        </p:tgtEl>
                                        <p:attrNameLst>
                                          <p:attrName>ppt_y</p:attrName>
                                        </p:attrNameLst>
                                      </p:cBhvr>
                                      <p:tavLst>
                                        <p:tav tm="0">
                                          <p:val>
                                            <p:strVal val="#ppt_y"/>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2" fill="hold" nodeType="clickEffect">
                                  <p:stCondLst>
                                    <p:cond delay="0"/>
                                  </p:stCondLst>
                                  <p:childTnLst>
                                    <p:set>
                                      <p:cBhvr>
                                        <p:cTn id="100" dur="1" fill="hold">
                                          <p:stCondLst>
                                            <p:cond delay="0"/>
                                          </p:stCondLst>
                                        </p:cTn>
                                        <p:tgtEl>
                                          <p:spTgt spid="389"/>
                                        </p:tgtEl>
                                        <p:attrNameLst>
                                          <p:attrName>style.visibility</p:attrName>
                                        </p:attrNameLst>
                                      </p:cBhvr>
                                      <p:to>
                                        <p:strVal val="visible"/>
                                      </p:to>
                                    </p:set>
                                    <p:anim calcmode="lin" valueType="num">
                                      <p:cBhvr additive="base">
                                        <p:cTn id="101" dur="500" fill="hold"/>
                                        <p:tgtEl>
                                          <p:spTgt spid="389"/>
                                        </p:tgtEl>
                                        <p:attrNameLst>
                                          <p:attrName>ppt_x</p:attrName>
                                        </p:attrNameLst>
                                      </p:cBhvr>
                                      <p:tavLst>
                                        <p:tav tm="0">
                                          <p:val>
                                            <p:strVal val="1+#ppt_w/2"/>
                                          </p:val>
                                        </p:tav>
                                        <p:tav tm="100000">
                                          <p:val>
                                            <p:strVal val="#ppt_x"/>
                                          </p:val>
                                        </p:tav>
                                      </p:tavLst>
                                    </p:anim>
                                    <p:anim calcmode="lin" valueType="num">
                                      <p:cBhvr additive="base">
                                        <p:cTn id="102" dur="500" fill="hold"/>
                                        <p:tgtEl>
                                          <p:spTgt spid="38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8" grpId="0"/>
      <p:bldP spid="80" grpId="0"/>
      <p:bldP spid="209" grpId="0" animBg="1"/>
      <p:bldP spid="212" grpId="0" animBg="1"/>
      <p:bldP spid="274" grpId="0"/>
      <p:bldP spid="275" grpId="0" animBg="1"/>
      <p:bldP spid="276" grpId="0"/>
      <p:bldP spid="278" grpId="0"/>
      <p:bldP spid="372" grpId="0"/>
      <p:bldP spid="373" grpId="0"/>
      <p:bldP spid="37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075937A-B84D-403A-B486-57F10211B0F6}"/>
              </a:ext>
            </a:extLst>
          </p:cNvPr>
          <p:cNvSpPr/>
          <p:nvPr/>
        </p:nvSpPr>
        <p:spPr bwMode="auto">
          <a:xfrm>
            <a:off x="6333259" y="2145073"/>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pic>
        <p:nvPicPr>
          <p:cNvPr id="7" name="Graphic 6">
            <a:extLst>
              <a:ext uri="{FF2B5EF4-FFF2-40B4-BE49-F238E27FC236}">
                <a16:creationId xmlns:a16="http://schemas.microsoft.com/office/drawing/2014/main" id="{974AA8AB-1D8E-4C4E-8374-3148CBBAB4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9421" y="2684755"/>
            <a:ext cx="1707356" cy="1707356"/>
          </a:xfrm>
          <a:prstGeom prst="rect">
            <a:avLst/>
          </a:prstGeom>
        </p:spPr>
      </p:pic>
      <p:sp>
        <p:nvSpPr>
          <p:cNvPr id="84" name="Rectangle 83">
            <a:extLst>
              <a:ext uri="{FF2B5EF4-FFF2-40B4-BE49-F238E27FC236}">
                <a16:creationId xmlns:a16="http://schemas.microsoft.com/office/drawing/2014/main" id="{4CF3B677-925F-4D99-894D-DA2F3BD60622}"/>
              </a:ext>
            </a:extLst>
          </p:cNvPr>
          <p:cNvSpPr/>
          <p:nvPr/>
        </p:nvSpPr>
        <p:spPr bwMode="auto">
          <a:xfrm>
            <a:off x="6320822" y="1996119"/>
            <a:ext cx="2704550" cy="301230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83" name="Rectangle 82">
            <a:extLst>
              <a:ext uri="{FF2B5EF4-FFF2-40B4-BE49-F238E27FC236}">
                <a16:creationId xmlns:a16="http://schemas.microsoft.com/office/drawing/2014/main" id="{48597375-5FF1-459F-AD36-0861C9716FBF}"/>
              </a:ext>
            </a:extLst>
          </p:cNvPr>
          <p:cNvSpPr/>
          <p:nvPr/>
        </p:nvSpPr>
        <p:spPr bwMode="auto">
          <a:xfrm>
            <a:off x="597742" y="1996119"/>
            <a:ext cx="5620495" cy="301230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44" name="Rectangle 43">
            <a:extLst>
              <a:ext uri="{FF2B5EF4-FFF2-40B4-BE49-F238E27FC236}">
                <a16:creationId xmlns:a16="http://schemas.microsoft.com/office/drawing/2014/main" id="{6C6FEFC2-E135-41D7-8619-37FC896357E1}"/>
              </a:ext>
            </a:extLst>
          </p:cNvPr>
          <p:cNvSpPr/>
          <p:nvPr/>
        </p:nvSpPr>
        <p:spPr bwMode="auto">
          <a:xfrm>
            <a:off x="597750" y="2130998"/>
            <a:ext cx="5502359" cy="272670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CBA1A2AB-4772-496C-A4C0-5E7693E370A3}"/>
              </a:ext>
            </a:extLst>
          </p:cNvPr>
          <p:cNvSpPr>
            <a:spLocks noGrp="1"/>
          </p:cNvSpPr>
          <p:nvPr>
            <p:ph type="title"/>
          </p:nvPr>
        </p:nvSpPr>
        <p:spPr/>
        <p:txBody>
          <a:bodyPr/>
          <a:lstStyle/>
          <a:p>
            <a:r>
              <a:rPr lang="en-US" dirty="0"/>
              <a:t>Language options</a:t>
            </a:r>
          </a:p>
        </p:txBody>
      </p:sp>
      <p:pic>
        <p:nvPicPr>
          <p:cNvPr id="8" name="Graphic 7">
            <a:extLst>
              <a:ext uri="{FF2B5EF4-FFF2-40B4-BE49-F238E27FC236}">
                <a16:creationId xmlns:a16="http://schemas.microsoft.com/office/drawing/2014/main" id="{C58CE425-DEE0-4319-B74A-9CB220AF61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8346" y="2350184"/>
            <a:ext cx="1254375" cy="2294327"/>
          </a:xfrm>
          <a:prstGeom prst="rect">
            <a:avLst/>
          </a:prstGeom>
        </p:spPr>
      </p:pic>
      <p:pic>
        <p:nvPicPr>
          <p:cNvPr id="10" name="Graphic 9">
            <a:extLst>
              <a:ext uri="{FF2B5EF4-FFF2-40B4-BE49-F238E27FC236}">
                <a16:creationId xmlns:a16="http://schemas.microsoft.com/office/drawing/2014/main" id="{221A1AE4-C992-4A44-9E58-AB7CBFA8B08E}"/>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r="5120"/>
          <a:stretch/>
        </p:blipFill>
        <p:spPr>
          <a:xfrm>
            <a:off x="9237543" y="3162557"/>
            <a:ext cx="2456237" cy="764638"/>
          </a:xfrm>
          <a:prstGeom prst="rect">
            <a:avLst/>
          </a:prstGeom>
        </p:spPr>
      </p:pic>
      <p:pic>
        <p:nvPicPr>
          <p:cNvPr id="12" name="Graphic 11">
            <a:extLst>
              <a:ext uri="{FF2B5EF4-FFF2-40B4-BE49-F238E27FC236}">
                <a16:creationId xmlns:a16="http://schemas.microsoft.com/office/drawing/2014/main" id="{FFA00809-98F5-46F3-947B-E71F231266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59487" y="2756583"/>
            <a:ext cx="2576695" cy="1576588"/>
          </a:xfrm>
          <a:prstGeom prst="rect">
            <a:avLst/>
          </a:prstGeom>
        </p:spPr>
      </p:pic>
      <p:sp>
        <p:nvSpPr>
          <p:cNvPr id="19" name="Rectangle 18">
            <a:extLst>
              <a:ext uri="{FF2B5EF4-FFF2-40B4-BE49-F238E27FC236}">
                <a16:creationId xmlns:a16="http://schemas.microsoft.com/office/drawing/2014/main" id="{75562553-89FA-474E-B3DD-2B68FDC645B2}"/>
              </a:ext>
            </a:extLst>
          </p:cNvPr>
          <p:cNvSpPr/>
          <p:nvPr/>
        </p:nvSpPr>
        <p:spPr bwMode="auto">
          <a:xfrm>
            <a:off x="597747" y="2140266"/>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24" name="Title 1">
            <a:extLst>
              <a:ext uri="{FF2B5EF4-FFF2-40B4-BE49-F238E27FC236}">
                <a16:creationId xmlns:a16="http://schemas.microsoft.com/office/drawing/2014/main" id="{D5982680-31FD-41E9-961A-FDD380C35774}"/>
              </a:ext>
            </a:extLst>
          </p:cNvPr>
          <p:cNvSpPr txBox="1">
            <a:spLocks/>
          </p:cNvSpPr>
          <p:nvPr/>
        </p:nvSpPr>
        <p:spPr>
          <a:xfrm>
            <a:off x="6847228" y="1829316"/>
            <a:ext cx="1676609" cy="320182"/>
          </a:xfrm>
          <a:prstGeom prst="rect">
            <a:avLst/>
          </a:prstGeom>
          <a:solidFill>
            <a:srgbClr val="E6E6E6"/>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2040" spc="-51" dirty="0">
                <a:solidFill>
                  <a:srgbClr val="737373"/>
                </a:solidFill>
                <a:latin typeface="Segoe UI Semibold"/>
              </a:rPr>
              <a:t>Public preview</a:t>
            </a:r>
          </a:p>
        </p:txBody>
      </p:sp>
      <p:sp>
        <p:nvSpPr>
          <p:cNvPr id="30" name="Rectangle 29">
            <a:extLst>
              <a:ext uri="{FF2B5EF4-FFF2-40B4-BE49-F238E27FC236}">
                <a16:creationId xmlns:a16="http://schemas.microsoft.com/office/drawing/2014/main" id="{A6D499B6-F47C-416B-B049-B3313E75E32B}"/>
              </a:ext>
            </a:extLst>
          </p:cNvPr>
          <p:cNvSpPr/>
          <p:nvPr/>
        </p:nvSpPr>
        <p:spPr bwMode="auto">
          <a:xfrm>
            <a:off x="3395558" y="2140266"/>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32" name="Rectangle 31">
            <a:extLst>
              <a:ext uri="{FF2B5EF4-FFF2-40B4-BE49-F238E27FC236}">
                <a16:creationId xmlns:a16="http://schemas.microsoft.com/office/drawing/2014/main" id="{B4EBA072-90C4-4474-8347-80F9CD37389C}"/>
              </a:ext>
            </a:extLst>
          </p:cNvPr>
          <p:cNvSpPr/>
          <p:nvPr/>
        </p:nvSpPr>
        <p:spPr bwMode="auto">
          <a:xfrm>
            <a:off x="9131069" y="2145073"/>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cxnSp>
        <p:nvCxnSpPr>
          <p:cNvPr id="37" name="Straight Connector 36">
            <a:extLst>
              <a:ext uri="{FF2B5EF4-FFF2-40B4-BE49-F238E27FC236}">
                <a16:creationId xmlns:a16="http://schemas.microsoft.com/office/drawing/2014/main" id="{37CFB9AF-3457-45A0-B58B-DFE4DFD63AA6}"/>
              </a:ext>
            </a:extLst>
          </p:cNvPr>
          <p:cNvCxnSpPr/>
          <p:nvPr/>
        </p:nvCxnSpPr>
        <p:spPr>
          <a:xfrm>
            <a:off x="2112192" y="233150"/>
            <a:ext cx="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76994256-E2EF-4EE5-8A99-E7A0C0CAE023}"/>
              </a:ext>
            </a:extLst>
          </p:cNvPr>
          <p:cNvSpPr/>
          <p:nvPr/>
        </p:nvSpPr>
        <p:spPr bwMode="auto">
          <a:xfrm>
            <a:off x="9237543" y="2140266"/>
            <a:ext cx="2456238" cy="3170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cxnSp>
        <p:nvCxnSpPr>
          <p:cNvPr id="53" name="Straight Connector 52">
            <a:extLst>
              <a:ext uri="{FF2B5EF4-FFF2-40B4-BE49-F238E27FC236}">
                <a16:creationId xmlns:a16="http://schemas.microsoft.com/office/drawing/2014/main" id="{8406C7A8-B0EB-4C0E-9692-99B5D8D67051}"/>
              </a:ext>
            </a:extLst>
          </p:cNvPr>
          <p:cNvCxnSpPr>
            <a:cxnSpLocks/>
            <a:stCxn id="52" idx="1"/>
            <a:endCxn id="52" idx="3"/>
          </p:cNvCxnSpPr>
          <p:nvPr/>
        </p:nvCxnSpPr>
        <p:spPr>
          <a:xfrm>
            <a:off x="9237543" y="2298809"/>
            <a:ext cx="245623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1060C775-57FA-49F9-9657-D50539FE6924}"/>
              </a:ext>
            </a:extLst>
          </p:cNvPr>
          <p:cNvSpPr/>
          <p:nvPr/>
        </p:nvSpPr>
        <p:spPr bwMode="auto">
          <a:xfrm>
            <a:off x="10179860" y="2140266"/>
            <a:ext cx="571602" cy="31708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632" dirty="0">
                <a:solidFill>
                  <a:srgbClr val="0078D4"/>
                </a:solidFill>
                <a:latin typeface="Segoe UI"/>
              </a:rPr>
              <a:t>New!</a:t>
            </a:r>
          </a:p>
        </p:txBody>
      </p:sp>
      <p:sp>
        <p:nvSpPr>
          <p:cNvPr id="57" name="Rectangle 56">
            <a:extLst>
              <a:ext uri="{FF2B5EF4-FFF2-40B4-BE49-F238E27FC236}">
                <a16:creationId xmlns:a16="http://schemas.microsoft.com/office/drawing/2014/main" id="{FC6BCCF0-4CC3-4A18-8BFF-66688FA9BAB1}"/>
              </a:ext>
            </a:extLst>
          </p:cNvPr>
          <p:cNvSpPr/>
          <p:nvPr/>
        </p:nvSpPr>
        <p:spPr bwMode="auto">
          <a:xfrm>
            <a:off x="9237543" y="4527731"/>
            <a:ext cx="2456238" cy="3170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cxnSp>
        <p:nvCxnSpPr>
          <p:cNvPr id="58" name="Straight Connector 57">
            <a:extLst>
              <a:ext uri="{FF2B5EF4-FFF2-40B4-BE49-F238E27FC236}">
                <a16:creationId xmlns:a16="http://schemas.microsoft.com/office/drawing/2014/main" id="{1EF56CBE-1A28-4CF6-AE48-1BD8A228E61A}"/>
              </a:ext>
            </a:extLst>
          </p:cNvPr>
          <p:cNvCxnSpPr>
            <a:cxnSpLocks/>
            <a:stCxn id="57" idx="1"/>
            <a:endCxn id="57" idx="3"/>
          </p:cNvCxnSpPr>
          <p:nvPr/>
        </p:nvCxnSpPr>
        <p:spPr>
          <a:xfrm>
            <a:off x="9237543" y="4686273"/>
            <a:ext cx="245623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FFBF210E-4180-4A59-9202-B0C8F737C572}"/>
              </a:ext>
            </a:extLst>
          </p:cNvPr>
          <p:cNvSpPr/>
          <p:nvPr/>
        </p:nvSpPr>
        <p:spPr bwMode="auto">
          <a:xfrm>
            <a:off x="599302" y="5629459"/>
            <a:ext cx="11237870" cy="5650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2040" dirty="0">
                <a:solidFill>
                  <a:srgbClr val="1A1A1A"/>
                </a:solidFill>
                <a:latin typeface="Segoe UI Semibold"/>
              </a:rPr>
              <a:t>More on the way!</a:t>
            </a:r>
          </a:p>
        </p:txBody>
      </p:sp>
      <p:sp>
        <p:nvSpPr>
          <p:cNvPr id="23" name="Title 1">
            <a:extLst>
              <a:ext uri="{FF2B5EF4-FFF2-40B4-BE49-F238E27FC236}">
                <a16:creationId xmlns:a16="http://schemas.microsoft.com/office/drawing/2014/main" id="{4B6AEA38-E5E7-4AEB-B20E-80FA70762498}"/>
              </a:ext>
            </a:extLst>
          </p:cNvPr>
          <p:cNvSpPr txBox="1">
            <a:spLocks/>
          </p:cNvSpPr>
          <p:nvPr/>
        </p:nvSpPr>
        <p:spPr>
          <a:xfrm>
            <a:off x="2274359" y="1819733"/>
            <a:ext cx="2149132" cy="320182"/>
          </a:xfrm>
          <a:prstGeom prst="rect">
            <a:avLst/>
          </a:prstGeom>
          <a:solidFill>
            <a:srgbClr val="E6E6E6"/>
          </a:solidFill>
          <a:ln>
            <a:noFill/>
          </a:ln>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2040" spc="-51" dirty="0">
                <a:solidFill>
                  <a:srgbClr val="737373"/>
                </a:solidFill>
                <a:latin typeface="Segoe UI Semibold"/>
              </a:rPr>
              <a:t>Generally available</a:t>
            </a:r>
          </a:p>
        </p:txBody>
      </p:sp>
      <p:sp>
        <p:nvSpPr>
          <p:cNvPr id="25" name="Rectangle 24">
            <a:extLst>
              <a:ext uri="{FF2B5EF4-FFF2-40B4-BE49-F238E27FC236}">
                <a16:creationId xmlns:a16="http://schemas.microsoft.com/office/drawing/2014/main" id="{F5F07052-726F-463C-AED9-7948EB69FE37}"/>
              </a:ext>
            </a:extLst>
          </p:cNvPr>
          <p:cNvSpPr/>
          <p:nvPr/>
        </p:nvSpPr>
        <p:spPr bwMode="auto">
          <a:xfrm>
            <a:off x="9113385" y="1996119"/>
            <a:ext cx="2704550" cy="301230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27" name="Title 1">
            <a:extLst>
              <a:ext uri="{FF2B5EF4-FFF2-40B4-BE49-F238E27FC236}">
                <a16:creationId xmlns:a16="http://schemas.microsoft.com/office/drawing/2014/main" id="{EEC7EDDA-A7F9-4C95-A27F-1832D48CB4DC}"/>
              </a:ext>
            </a:extLst>
          </p:cNvPr>
          <p:cNvSpPr txBox="1">
            <a:spLocks/>
          </p:cNvSpPr>
          <p:nvPr/>
        </p:nvSpPr>
        <p:spPr>
          <a:xfrm>
            <a:off x="9594679" y="1826362"/>
            <a:ext cx="1741961" cy="320182"/>
          </a:xfrm>
          <a:prstGeom prst="rect">
            <a:avLst/>
          </a:prstGeom>
          <a:solidFill>
            <a:srgbClr val="E6E6E6"/>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2040" spc="-51" dirty="0">
                <a:solidFill>
                  <a:srgbClr val="737373"/>
                </a:solidFill>
                <a:latin typeface="Segoe UI Semibold"/>
              </a:rPr>
              <a:t>Private preview</a:t>
            </a:r>
          </a:p>
        </p:txBody>
      </p:sp>
    </p:spTree>
    <p:extLst>
      <p:ext uri="{BB962C8B-B14F-4D97-AF65-F5344CB8AC3E}">
        <p14:creationId xmlns:p14="http://schemas.microsoft.com/office/powerpoint/2010/main" val="94993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childTnLst>
                                </p:cTn>
                              </p:par>
                            </p:childTnLst>
                          </p:cTn>
                        </p:par>
                        <p:par>
                          <p:cTn id="22" fill="hold">
                            <p:stCondLst>
                              <p:cond delay="0"/>
                            </p:stCondLst>
                            <p:childTnLst>
                              <p:par>
                                <p:cTn id="23" presetID="10" presetClass="entr" presetSubtype="0" fill="hold" grpId="0" nodeType="afterEffect">
                                  <p:stCondLst>
                                    <p:cond delay="0"/>
                                  </p:stCondLst>
                                  <p:childTnLst>
                                    <p:set>
                                      <p:cBhvr>
                                        <p:cTn id="24" dur="1" fill="hold">
                                          <p:stCondLst>
                                            <p:cond delay="0"/>
                                          </p:stCondLst>
                                        </p:cTn>
                                        <p:tgtEl>
                                          <p:spTgt spid="84"/>
                                        </p:tgtEl>
                                        <p:attrNameLst>
                                          <p:attrName>style.visibility</p:attrName>
                                        </p:attrNameLst>
                                      </p:cBhvr>
                                      <p:to>
                                        <p:strVal val="visible"/>
                                      </p:to>
                                    </p:set>
                                    <p:animEffect transition="in" filter="fade">
                                      <p:cBhvr>
                                        <p:cTn id="25" dur="500"/>
                                        <p:tgtEl>
                                          <p:spTgt spid="84"/>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27"/>
                                        </p:tgtEl>
                                        <p:attrNameLst>
                                          <p:attrName>style.visibility</p:attrName>
                                        </p:attrNameLst>
                                      </p:cBhvr>
                                      <p:to>
                                        <p:strVal val="visible"/>
                                      </p:to>
                                    </p:set>
                                  </p:childTnLst>
                                </p:cTn>
                              </p:par>
                            </p:childTnLst>
                          </p:cTn>
                        </p:par>
                        <p:par>
                          <p:cTn id="34" fill="hold">
                            <p:stCondLst>
                              <p:cond delay="0"/>
                            </p:stCondLst>
                            <p:childTnLst>
                              <p:par>
                                <p:cTn id="35" presetID="10" presetClass="entr" presetSubtype="0" fill="hold" grpId="0"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par>
                          <p:cTn id="38" fill="hold">
                            <p:stCondLst>
                              <p:cond delay="500"/>
                            </p:stCondLst>
                            <p:childTnLst>
                              <p:par>
                                <p:cTn id="39" presetID="1" presetClass="entr" presetSubtype="0" fill="hold" grpId="0" nodeType="after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0" presetClass="entr" presetSubtype="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par>
                                <p:cTn id="44" presetID="55" presetClass="entr" presetSubtype="0" fill="hold" nodeType="withEffect">
                                  <p:stCondLst>
                                    <p:cond delay="0"/>
                                  </p:stCondLst>
                                  <p:childTnLst>
                                    <p:set>
                                      <p:cBhvr>
                                        <p:cTn id="45" dur="1" fill="hold">
                                          <p:stCondLst>
                                            <p:cond delay="0"/>
                                          </p:stCondLst>
                                        </p:cTn>
                                        <p:tgtEl>
                                          <p:spTgt spid="53"/>
                                        </p:tgtEl>
                                        <p:attrNameLst>
                                          <p:attrName>style.visibility</p:attrName>
                                        </p:attrNameLst>
                                      </p:cBhvr>
                                      <p:to>
                                        <p:strVal val="visible"/>
                                      </p:to>
                                    </p:set>
                                    <p:anim calcmode="lin" valueType="num">
                                      <p:cBhvr>
                                        <p:cTn id="46" dur="500" fill="hold"/>
                                        <p:tgtEl>
                                          <p:spTgt spid="53"/>
                                        </p:tgtEl>
                                        <p:attrNameLst>
                                          <p:attrName>ppt_w</p:attrName>
                                        </p:attrNameLst>
                                      </p:cBhvr>
                                      <p:tavLst>
                                        <p:tav tm="0">
                                          <p:val>
                                            <p:strVal val="#ppt_w*0.70"/>
                                          </p:val>
                                        </p:tav>
                                        <p:tav tm="100000">
                                          <p:val>
                                            <p:strVal val="#ppt_w"/>
                                          </p:val>
                                        </p:tav>
                                      </p:tavLst>
                                    </p:anim>
                                    <p:anim calcmode="lin" valueType="num">
                                      <p:cBhvr>
                                        <p:cTn id="47" dur="500" fill="hold"/>
                                        <p:tgtEl>
                                          <p:spTgt spid="53"/>
                                        </p:tgtEl>
                                        <p:attrNameLst>
                                          <p:attrName>ppt_h</p:attrName>
                                        </p:attrNameLst>
                                      </p:cBhvr>
                                      <p:tavLst>
                                        <p:tav tm="0">
                                          <p:val>
                                            <p:strVal val="#ppt_h"/>
                                          </p:val>
                                        </p:tav>
                                        <p:tav tm="100000">
                                          <p:val>
                                            <p:strVal val="#ppt_h"/>
                                          </p:val>
                                        </p:tav>
                                      </p:tavLst>
                                    </p:anim>
                                    <p:animEffect transition="in" filter="fade">
                                      <p:cBhvr>
                                        <p:cTn id="48" dur="500"/>
                                        <p:tgtEl>
                                          <p:spTgt spid="53"/>
                                        </p:tgtEl>
                                      </p:cBhvr>
                                    </p:animEffect>
                                  </p:childTnLst>
                                </p:cTn>
                              </p:par>
                              <p:par>
                                <p:cTn id="49" presetID="55" presetClass="entr" presetSubtype="0" fill="hold" grpId="0" nodeType="withEffect" nodePh="1">
                                  <p:stCondLst>
                                    <p:cond delay="0"/>
                                  </p:stCondLst>
                                  <p:endCondLst>
                                    <p:cond evt="begin" delay="0">
                                      <p:tn val="49"/>
                                    </p:cond>
                                  </p:endCondLst>
                                  <p:childTnLst>
                                    <p:set>
                                      <p:cBhvr>
                                        <p:cTn id="50" dur="1" fill="hold">
                                          <p:stCondLst>
                                            <p:cond delay="0"/>
                                          </p:stCondLst>
                                        </p:cTn>
                                        <p:tgtEl>
                                          <p:spTgt spid="52"/>
                                        </p:tgtEl>
                                        <p:attrNameLst>
                                          <p:attrName>style.visibility</p:attrName>
                                        </p:attrNameLst>
                                      </p:cBhvr>
                                      <p:to>
                                        <p:strVal val="visible"/>
                                      </p:to>
                                    </p:set>
                                    <p:anim calcmode="lin" valueType="num">
                                      <p:cBhvr>
                                        <p:cTn id="51" dur="500" fill="hold"/>
                                        <p:tgtEl>
                                          <p:spTgt spid="52"/>
                                        </p:tgtEl>
                                        <p:attrNameLst>
                                          <p:attrName>ppt_w</p:attrName>
                                        </p:attrNameLst>
                                      </p:cBhvr>
                                      <p:tavLst>
                                        <p:tav tm="0">
                                          <p:val>
                                            <p:strVal val="#ppt_w*0.70"/>
                                          </p:val>
                                        </p:tav>
                                        <p:tav tm="100000">
                                          <p:val>
                                            <p:strVal val="#ppt_w"/>
                                          </p:val>
                                        </p:tav>
                                      </p:tavLst>
                                    </p:anim>
                                    <p:anim calcmode="lin" valueType="num">
                                      <p:cBhvr>
                                        <p:cTn id="52" dur="500" fill="hold"/>
                                        <p:tgtEl>
                                          <p:spTgt spid="52"/>
                                        </p:tgtEl>
                                        <p:attrNameLst>
                                          <p:attrName>ppt_h</p:attrName>
                                        </p:attrNameLst>
                                      </p:cBhvr>
                                      <p:tavLst>
                                        <p:tav tm="0">
                                          <p:val>
                                            <p:strVal val="#ppt_h"/>
                                          </p:val>
                                        </p:tav>
                                        <p:tav tm="100000">
                                          <p:val>
                                            <p:strVal val="#ppt_h"/>
                                          </p:val>
                                        </p:tav>
                                      </p:tavLst>
                                    </p:anim>
                                    <p:animEffect transition="in" filter="fade">
                                      <p:cBhvr>
                                        <p:cTn id="53" dur="500"/>
                                        <p:tgtEl>
                                          <p:spTgt spid="52"/>
                                        </p:tgtEl>
                                      </p:cBhvr>
                                    </p:animEffect>
                                  </p:childTnLst>
                                </p:cTn>
                              </p:par>
                              <p:par>
                                <p:cTn id="54" presetID="55" presetClass="entr" presetSubtype="0" fill="hold" nodeType="withEffect">
                                  <p:stCondLst>
                                    <p:cond delay="0"/>
                                  </p:stCondLst>
                                  <p:childTnLst>
                                    <p:set>
                                      <p:cBhvr>
                                        <p:cTn id="55" dur="1" fill="hold">
                                          <p:stCondLst>
                                            <p:cond delay="0"/>
                                          </p:stCondLst>
                                        </p:cTn>
                                        <p:tgtEl>
                                          <p:spTgt spid="58"/>
                                        </p:tgtEl>
                                        <p:attrNameLst>
                                          <p:attrName>style.visibility</p:attrName>
                                        </p:attrNameLst>
                                      </p:cBhvr>
                                      <p:to>
                                        <p:strVal val="visible"/>
                                      </p:to>
                                    </p:set>
                                    <p:anim calcmode="lin" valueType="num">
                                      <p:cBhvr>
                                        <p:cTn id="56" dur="500" fill="hold"/>
                                        <p:tgtEl>
                                          <p:spTgt spid="58"/>
                                        </p:tgtEl>
                                        <p:attrNameLst>
                                          <p:attrName>ppt_w</p:attrName>
                                        </p:attrNameLst>
                                      </p:cBhvr>
                                      <p:tavLst>
                                        <p:tav tm="0">
                                          <p:val>
                                            <p:strVal val="#ppt_w*0.70"/>
                                          </p:val>
                                        </p:tav>
                                        <p:tav tm="100000">
                                          <p:val>
                                            <p:strVal val="#ppt_w"/>
                                          </p:val>
                                        </p:tav>
                                      </p:tavLst>
                                    </p:anim>
                                    <p:anim calcmode="lin" valueType="num">
                                      <p:cBhvr>
                                        <p:cTn id="57" dur="500" fill="hold"/>
                                        <p:tgtEl>
                                          <p:spTgt spid="58"/>
                                        </p:tgtEl>
                                        <p:attrNameLst>
                                          <p:attrName>ppt_h</p:attrName>
                                        </p:attrNameLst>
                                      </p:cBhvr>
                                      <p:tavLst>
                                        <p:tav tm="0">
                                          <p:val>
                                            <p:strVal val="#ppt_h"/>
                                          </p:val>
                                        </p:tav>
                                        <p:tav tm="100000">
                                          <p:val>
                                            <p:strVal val="#ppt_h"/>
                                          </p:val>
                                        </p:tav>
                                      </p:tavLst>
                                    </p:anim>
                                    <p:animEffect transition="in" filter="fade">
                                      <p:cBhvr>
                                        <p:cTn id="58" dur="500"/>
                                        <p:tgtEl>
                                          <p:spTgt spid="58"/>
                                        </p:tgtEl>
                                      </p:cBhvr>
                                    </p:animEffect>
                                  </p:childTnLst>
                                </p:cTn>
                              </p:par>
                              <p:par>
                                <p:cTn id="59" presetID="55" presetClass="entr" presetSubtype="0" fill="hold" grpId="0" nodeType="withEffect" nodePh="1">
                                  <p:stCondLst>
                                    <p:cond delay="0"/>
                                  </p:stCondLst>
                                  <p:endCondLst>
                                    <p:cond evt="begin" delay="0">
                                      <p:tn val="59"/>
                                    </p:cond>
                                  </p:endCondLst>
                                  <p:childTnLst>
                                    <p:set>
                                      <p:cBhvr>
                                        <p:cTn id="60" dur="1" fill="hold">
                                          <p:stCondLst>
                                            <p:cond delay="0"/>
                                          </p:stCondLst>
                                        </p:cTn>
                                        <p:tgtEl>
                                          <p:spTgt spid="57"/>
                                        </p:tgtEl>
                                        <p:attrNameLst>
                                          <p:attrName>style.visibility</p:attrName>
                                        </p:attrNameLst>
                                      </p:cBhvr>
                                      <p:to>
                                        <p:strVal val="visible"/>
                                      </p:to>
                                    </p:set>
                                    <p:anim calcmode="lin" valueType="num">
                                      <p:cBhvr>
                                        <p:cTn id="61" dur="500" fill="hold"/>
                                        <p:tgtEl>
                                          <p:spTgt spid="57"/>
                                        </p:tgtEl>
                                        <p:attrNameLst>
                                          <p:attrName>ppt_w</p:attrName>
                                        </p:attrNameLst>
                                      </p:cBhvr>
                                      <p:tavLst>
                                        <p:tav tm="0">
                                          <p:val>
                                            <p:strVal val="#ppt_w*0.70"/>
                                          </p:val>
                                        </p:tav>
                                        <p:tav tm="100000">
                                          <p:val>
                                            <p:strVal val="#ppt_w"/>
                                          </p:val>
                                        </p:tav>
                                      </p:tavLst>
                                    </p:anim>
                                    <p:anim calcmode="lin" valueType="num">
                                      <p:cBhvr>
                                        <p:cTn id="62" dur="500" fill="hold"/>
                                        <p:tgtEl>
                                          <p:spTgt spid="57"/>
                                        </p:tgtEl>
                                        <p:attrNameLst>
                                          <p:attrName>ppt_h</p:attrName>
                                        </p:attrNameLst>
                                      </p:cBhvr>
                                      <p:tavLst>
                                        <p:tav tm="0">
                                          <p:val>
                                            <p:strVal val="#ppt_h"/>
                                          </p:val>
                                        </p:tav>
                                        <p:tav tm="100000">
                                          <p:val>
                                            <p:strVal val="#ppt_h"/>
                                          </p:val>
                                        </p:tav>
                                      </p:tavLst>
                                    </p:anim>
                                    <p:animEffect transition="in" filter="fade">
                                      <p:cBhvr>
                                        <p:cTn id="63" dur="500"/>
                                        <p:tgtEl>
                                          <p:spTgt spid="57"/>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61"/>
                                        </p:tgtEl>
                                        <p:attrNameLst>
                                          <p:attrName>style.visibility</p:attrName>
                                        </p:attrNameLst>
                                      </p:cBhvr>
                                      <p:to>
                                        <p:strVal val="visible"/>
                                      </p:to>
                                    </p:set>
                                    <p:animEffect transition="in" filter="fade">
                                      <p:cBhvr>
                                        <p:cTn id="68"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3" grpId="0" animBg="1"/>
      <p:bldP spid="24" grpId="0" animBg="1"/>
      <p:bldP spid="52" grpId="0"/>
      <p:bldP spid="54" grpId="0" animBg="1"/>
      <p:bldP spid="57" grpId="0"/>
      <p:bldP spid="61" grpId="0"/>
      <p:bldP spid="23" grpId="0" animBg="1"/>
      <p:bldP spid="25" grpId="0" animBg="1"/>
      <p:bldP spid="2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68415" y="2028566"/>
            <a:ext cx="7396579" cy="959603"/>
            <a:chOff x="3641081" y="2013171"/>
            <a:chExt cx="7252206" cy="940873"/>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6509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100000"/>
                </a:lnSpc>
                <a:spcBef>
                  <a:spcPct val="0"/>
                </a:spcBef>
                <a:spcAft>
                  <a:spcPts val="0"/>
                </a:spcAft>
                <a:buClrTx/>
                <a:buSzTx/>
                <a:buFontTx/>
                <a:buNone/>
                <a:tabLst/>
                <a:defRPr/>
              </a:pPr>
              <a:r>
                <a:rPr kumimoji="0" lang="en-US" sz="3672" b="0" i="0" u="none" strike="noStrike" kern="1200" cap="none" spc="-51" normalizeH="0" baseline="0" noProof="0">
                  <a:ln w="3175">
                    <a:noFill/>
                  </a:ln>
                  <a:solidFill>
                    <a:srgbClr val="0078D4"/>
                  </a:solidFill>
                  <a:effectLst/>
                  <a:uLnTx/>
                  <a:uFillTx/>
                  <a:latin typeface="Selawik Semibold" panose="020B0702040204020203" pitchFamily="34" charset="0"/>
                  <a:ea typeface="+mn-ea"/>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8"/>
              <a:ext cx="7252206" cy="374846"/>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0" indent="0" defTabSz="932384">
                <a:buNone/>
                <a:defRPr/>
              </a:pPr>
              <a:r>
                <a:rPr lang="en-US" sz="2040" dirty="0">
                  <a:solidFill>
                    <a:srgbClr val="000000"/>
                  </a:solidFill>
                  <a:latin typeface="Segoe UI" panose="020B0502040204020203" pitchFamily="34" charset="0"/>
                  <a:cs typeface="Segoe UI" panose="020B0502040204020203" pitchFamily="34" charset="0"/>
                </a:rPr>
                <a:t>Create your Azure Function using Azure Portal</a:t>
              </a:r>
              <a:endParaRPr kumimoji="0" lang="en-US" sz="204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14013" y="2034186"/>
            <a:ext cx="2379291" cy="223082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16441938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295730"/>
            <a:ext cx="3809457"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Event Grid</a:t>
            </a:r>
          </a:p>
        </p:txBody>
      </p:sp>
      <p:sp>
        <p:nvSpPr>
          <p:cNvPr id="8" name="Text Placeholder 2"/>
          <p:cNvSpPr txBox="1">
            <a:spLocks/>
          </p:cNvSpPr>
          <p:nvPr/>
        </p:nvSpPr>
        <p:spPr>
          <a:xfrm>
            <a:off x="277051" y="2405217"/>
            <a:ext cx="3880688" cy="4589307"/>
          </a:xfrm>
          <a:prstGeom prst="rect">
            <a:avLst/>
          </a:prstGeom>
        </p:spPr>
        <p:txBody>
          <a:bodyPr lIns="182750" tIns="146200" rIns="182750" anchor="t"/>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liminate polling—and the associated cost and latency</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Build reliable apps and services through reactive programming</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nable richer scenarios by connecting multiple event sources and destinations</a:t>
            </a:r>
            <a:endParaRPr lang="en-US" sz="2200" b="0" i="0" u="none" strike="noStrike" kern="1200" cap="none" spc="0" baseline="0" noProof="0">
              <a:gradFill>
                <a:gsLst>
                  <a:gs pos="2917">
                    <a:srgbClr val="FFFFFF"/>
                  </a:gs>
                  <a:gs pos="30000">
                    <a:srgbClr val="FFFFFF"/>
                  </a:gs>
                </a:gsLst>
                <a:lin ang="5400000" scaled="0"/>
              </a:gradFill>
              <a:latin typeface="Segoe UI Semilight"/>
              <a:cs typeface="Segoe UI Semilight"/>
            </a:endParaRPr>
          </a:p>
          <a:p>
            <a:pPr marL="0" lvl="1" indent="0" defTabSz="932563">
              <a:spcBef>
                <a:spcPts val="0"/>
              </a:spcBef>
              <a:spcAft>
                <a:spcPts val="1800"/>
              </a:spcAft>
              <a:buNone/>
              <a:defRPr/>
            </a:pPr>
            <a:r>
              <a:rPr lang="en-US" sz="2200">
                <a:gradFill>
                  <a:gsLst>
                    <a:gs pos="2917">
                      <a:srgbClr val="FFFFFF"/>
                    </a:gs>
                    <a:gs pos="30000">
                      <a:srgbClr val="FFFFFF"/>
                    </a:gs>
                  </a:gsLst>
                  <a:lin ang="5400000" scaled="0"/>
                </a:gradFill>
                <a:latin typeface="Segoe UI Semilight"/>
                <a:cs typeface="Segoe UI Semilight"/>
              </a:rPr>
              <a:t>Support for open CloudEvent standard</a:t>
            </a:r>
          </a:p>
        </p:txBody>
      </p:sp>
      <p:pic>
        <p:nvPicPr>
          <p:cNvPr id="51" name="Picture 50">
            <a:extLst>
              <a:ext uri="{FF2B5EF4-FFF2-40B4-BE49-F238E27FC236}">
                <a16:creationId xmlns:a16="http://schemas.microsoft.com/office/drawing/2014/main" id="{E63AA964-D221-4159-9AD8-301B8973C8CC}"/>
              </a:ext>
            </a:extLst>
          </p:cNvPr>
          <p:cNvPicPr>
            <a:picLocks noChangeAspect="1"/>
          </p:cNvPicPr>
          <p:nvPr/>
        </p:nvPicPr>
        <p:blipFill>
          <a:blip r:embed="rId3"/>
          <a:stretch>
            <a:fillRect/>
          </a:stretch>
        </p:blipFill>
        <p:spPr>
          <a:xfrm>
            <a:off x="7550872" y="2878809"/>
            <a:ext cx="1572044" cy="1572044"/>
          </a:xfrm>
          <a:prstGeom prst="rect">
            <a:avLst/>
          </a:prstGeom>
        </p:spPr>
      </p:pic>
      <p:grpSp>
        <p:nvGrpSpPr>
          <p:cNvPr id="52" name="Group 51">
            <a:extLst>
              <a:ext uri="{FF2B5EF4-FFF2-40B4-BE49-F238E27FC236}">
                <a16:creationId xmlns:a16="http://schemas.microsoft.com/office/drawing/2014/main" id="{6A298B70-7E4F-4BFF-959C-169669599756}"/>
              </a:ext>
            </a:extLst>
          </p:cNvPr>
          <p:cNvGrpSpPr/>
          <p:nvPr/>
        </p:nvGrpSpPr>
        <p:grpSpPr>
          <a:xfrm>
            <a:off x="4571143" y="1114865"/>
            <a:ext cx="2743200" cy="5182292"/>
            <a:chOff x="819769" y="509397"/>
            <a:chExt cx="2743200" cy="5182292"/>
          </a:xfrm>
        </p:grpSpPr>
        <p:grpSp>
          <p:nvGrpSpPr>
            <p:cNvPr id="53" name="Group 52">
              <a:extLst>
                <a:ext uri="{FF2B5EF4-FFF2-40B4-BE49-F238E27FC236}">
                  <a16:creationId xmlns:a16="http://schemas.microsoft.com/office/drawing/2014/main" id="{158B9FCD-6BCE-432E-8063-D89A76565EE8}"/>
                </a:ext>
              </a:extLst>
            </p:cNvPr>
            <p:cNvGrpSpPr/>
            <p:nvPr/>
          </p:nvGrpSpPr>
          <p:grpSpPr>
            <a:xfrm>
              <a:off x="819769" y="509397"/>
              <a:ext cx="2743200" cy="713232"/>
              <a:chOff x="854832" y="509397"/>
              <a:chExt cx="2743200" cy="713232"/>
            </a:xfrm>
          </p:grpSpPr>
          <p:sp>
            <p:nvSpPr>
              <p:cNvPr id="79" name="Rectangle 78">
                <a:extLst>
                  <a:ext uri="{FF2B5EF4-FFF2-40B4-BE49-F238E27FC236}">
                    <a16:creationId xmlns:a16="http://schemas.microsoft.com/office/drawing/2014/main" id="{161563CF-411A-4A7C-B425-E22EC866596E}"/>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0" name="TextBox 79">
                <a:extLst>
                  <a:ext uri="{FF2B5EF4-FFF2-40B4-BE49-F238E27FC236}">
                    <a16:creationId xmlns:a16="http://schemas.microsoft.com/office/drawing/2014/main" id="{8C0C0838-7DEC-479C-A4C0-9433A79C5A19}"/>
                  </a:ext>
                </a:extLst>
              </p:cNvPr>
              <p:cNvSpPr txBox="1"/>
              <p:nvPr/>
            </p:nvSpPr>
            <p:spPr>
              <a:xfrm>
                <a:off x="1463980" y="712390"/>
                <a:ext cx="888385"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IoT Hub</a:t>
                </a:r>
              </a:p>
            </p:txBody>
          </p:sp>
        </p:grpSp>
        <p:pic>
          <p:nvPicPr>
            <p:cNvPr id="54" name="Picture 53">
              <a:extLst>
                <a:ext uri="{FF2B5EF4-FFF2-40B4-BE49-F238E27FC236}">
                  <a16:creationId xmlns:a16="http://schemas.microsoft.com/office/drawing/2014/main" id="{B47B1AF3-DD44-42FB-9B0A-B5526E33649F}"/>
                </a:ext>
              </a:extLst>
            </p:cNvPr>
            <p:cNvPicPr>
              <a:picLocks noChangeAspect="1"/>
            </p:cNvPicPr>
            <p:nvPr/>
          </p:nvPicPr>
          <p:blipFill>
            <a:blip r:embed="rId4"/>
            <a:stretch>
              <a:fillRect/>
            </a:stretch>
          </p:blipFill>
          <p:spPr>
            <a:xfrm>
              <a:off x="962067" y="660273"/>
              <a:ext cx="411480" cy="411480"/>
            </a:xfrm>
            <a:prstGeom prst="rect">
              <a:avLst/>
            </a:prstGeom>
            <a:solidFill>
              <a:schemeClr val="bg2"/>
            </a:solidFill>
            <a:ln>
              <a:noFill/>
            </a:ln>
          </p:spPr>
        </p:pic>
        <p:grpSp>
          <p:nvGrpSpPr>
            <p:cNvPr id="55" name="Group 54">
              <a:extLst>
                <a:ext uri="{FF2B5EF4-FFF2-40B4-BE49-F238E27FC236}">
                  <a16:creationId xmlns:a16="http://schemas.microsoft.com/office/drawing/2014/main" id="{F6690F4E-7B18-4C5A-AAB0-FA7874C7081E}"/>
                </a:ext>
              </a:extLst>
            </p:cNvPr>
            <p:cNvGrpSpPr/>
            <p:nvPr/>
          </p:nvGrpSpPr>
          <p:grpSpPr>
            <a:xfrm>
              <a:off x="819769" y="1254240"/>
              <a:ext cx="2743200" cy="713232"/>
              <a:chOff x="854832" y="509397"/>
              <a:chExt cx="2743200" cy="713232"/>
            </a:xfrm>
          </p:grpSpPr>
          <p:sp>
            <p:nvSpPr>
              <p:cNvPr id="77" name="Rectangle 76">
                <a:extLst>
                  <a:ext uri="{FF2B5EF4-FFF2-40B4-BE49-F238E27FC236}">
                    <a16:creationId xmlns:a16="http://schemas.microsoft.com/office/drawing/2014/main" id="{2016FDCD-79F1-4197-8070-89005BD48064}"/>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8" name="TextBox 77">
                <a:extLst>
                  <a:ext uri="{FF2B5EF4-FFF2-40B4-BE49-F238E27FC236}">
                    <a16:creationId xmlns:a16="http://schemas.microsoft.com/office/drawing/2014/main" id="{D038229F-75A1-48FA-8B52-705CD43121DB}"/>
                  </a:ext>
                </a:extLst>
              </p:cNvPr>
              <p:cNvSpPr txBox="1"/>
              <p:nvPr/>
            </p:nvSpPr>
            <p:spPr>
              <a:xfrm>
                <a:off x="1463980" y="712390"/>
                <a:ext cx="1312988"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Blob Storage</a:t>
                </a:r>
              </a:p>
            </p:txBody>
          </p:sp>
        </p:grpSp>
        <p:pic>
          <p:nvPicPr>
            <p:cNvPr id="56" name="Picture 55">
              <a:extLst>
                <a:ext uri="{FF2B5EF4-FFF2-40B4-BE49-F238E27FC236}">
                  <a16:creationId xmlns:a16="http://schemas.microsoft.com/office/drawing/2014/main" id="{85C0361F-3CD2-4D34-A66E-321B8F5681B2}"/>
                </a:ext>
              </a:extLst>
            </p:cNvPr>
            <p:cNvPicPr>
              <a:picLocks noChangeAspect="1"/>
            </p:cNvPicPr>
            <p:nvPr/>
          </p:nvPicPr>
          <p:blipFill>
            <a:blip r:embed="rId5"/>
            <a:stretch>
              <a:fillRect/>
            </a:stretch>
          </p:blipFill>
          <p:spPr>
            <a:xfrm>
              <a:off x="960291" y="1403340"/>
              <a:ext cx="415032" cy="415032"/>
            </a:xfrm>
            <a:prstGeom prst="rect">
              <a:avLst/>
            </a:prstGeom>
            <a:noFill/>
            <a:ln>
              <a:noFill/>
            </a:ln>
          </p:spPr>
        </p:pic>
        <p:grpSp>
          <p:nvGrpSpPr>
            <p:cNvPr id="57" name="Group 56">
              <a:extLst>
                <a:ext uri="{FF2B5EF4-FFF2-40B4-BE49-F238E27FC236}">
                  <a16:creationId xmlns:a16="http://schemas.microsoft.com/office/drawing/2014/main" id="{404411D5-4662-4B43-B35F-E9F5F62C5708}"/>
                </a:ext>
              </a:extLst>
            </p:cNvPr>
            <p:cNvGrpSpPr/>
            <p:nvPr/>
          </p:nvGrpSpPr>
          <p:grpSpPr>
            <a:xfrm>
              <a:off x="819769" y="2743926"/>
              <a:ext cx="2743200" cy="713232"/>
              <a:chOff x="854832" y="509397"/>
              <a:chExt cx="2743200" cy="713232"/>
            </a:xfrm>
          </p:grpSpPr>
          <p:sp>
            <p:nvSpPr>
              <p:cNvPr id="75" name="Rectangle 74">
                <a:extLst>
                  <a:ext uri="{FF2B5EF4-FFF2-40B4-BE49-F238E27FC236}">
                    <a16:creationId xmlns:a16="http://schemas.microsoft.com/office/drawing/2014/main" id="{EAB3A54E-9898-4BD4-A375-75EA9DEB0704}"/>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6" name="TextBox 75">
                <a:extLst>
                  <a:ext uri="{FF2B5EF4-FFF2-40B4-BE49-F238E27FC236}">
                    <a16:creationId xmlns:a16="http://schemas.microsoft.com/office/drawing/2014/main" id="{0BDD0010-FACD-434A-AE10-58F96F106DEC}"/>
                  </a:ext>
                </a:extLst>
              </p:cNvPr>
              <p:cNvSpPr txBox="1"/>
              <p:nvPr/>
            </p:nvSpPr>
            <p:spPr>
              <a:xfrm>
                <a:off x="1463980" y="712390"/>
                <a:ext cx="1675587"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Resource Groups</a:t>
                </a:r>
              </a:p>
            </p:txBody>
          </p:sp>
        </p:grpSp>
        <p:grpSp>
          <p:nvGrpSpPr>
            <p:cNvPr id="58" name="Group 57">
              <a:extLst>
                <a:ext uri="{FF2B5EF4-FFF2-40B4-BE49-F238E27FC236}">
                  <a16:creationId xmlns:a16="http://schemas.microsoft.com/office/drawing/2014/main" id="{C8ED052A-940C-4DC6-A63C-654CBE029E79}"/>
                </a:ext>
              </a:extLst>
            </p:cNvPr>
            <p:cNvGrpSpPr/>
            <p:nvPr/>
          </p:nvGrpSpPr>
          <p:grpSpPr>
            <a:xfrm>
              <a:off x="819769" y="1999083"/>
              <a:ext cx="2743200" cy="713232"/>
              <a:chOff x="854832" y="489705"/>
              <a:chExt cx="2743200" cy="713232"/>
            </a:xfrm>
          </p:grpSpPr>
          <p:sp>
            <p:nvSpPr>
              <p:cNvPr id="73" name="Rectangle 72">
                <a:extLst>
                  <a:ext uri="{FF2B5EF4-FFF2-40B4-BE49-F238E27FC236}">
                    <a16:creationId xmlns:a16="http://schemas.microsoft.com/office/drawing/2014/main" id="{EDD24828-3A45-4D14-A876-60B7612E8154}"/>
                  </a:ext>
                </a:extLst>
              </p:cNvPr>
              <p:cNvSpPr/>
              <p:nvPr/>
            </p:nvSpPr>
            <p:spPr>
              <a:xfrm>
                <a:off x="854832" y="489705"/>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4" name="TextBox 73">
                <a:extLst>
                  <a:ext uri="{FF2B5EF4-FFF2-40B4-BE49-F238E27FC236}">
                    <a16:creationId xmlns:a16="http://schemas.microsoft.com/office/drawing/2014/main" id="{BF80E6D4-E0AE-43F0-8500-CF317BFC660C}"/>
                  </a:ext>
                </a:extLst>
              </p:cNvPr>
              <p:cNvSpPr txBox="1"/>
              <p:nvPr/>
            </p:nvSpPr>
            <p:spPr>
              <a:xfrm>
                <a:off x="1463980" y="712390"/>
                <a:ext cx="1921232"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Subscriptions</a:t>
                </a:r>
              </a:p>
            </p:txBody>
          </p:sp>
        </p:grpSp>
        <p:grpSp>
          <p:nvGrpSpPr>
            <p:cNvPr id="59" name="Group 58">
              <a:extLst>
                <a:ext uri="{FF2B5EF4-FFF2-40B4-BE49-F238E27FC236}">
                  <a16:creationId xmlns:a16="http://schemas.microsoft.com/office/drawing/2014/main" id="{FF28126F-6872-4F25-AD30-584FB03B0717}"/>
                </a:ext>
              </a:extLst>
            </p:cNvPr>
            <p:cNvGrpSpPr/>
            <p:nvPr/>
          </p:nvGrpSpPr>
          <p:grpSpPr>
            <a:xfrm>
              <a:off x="819769" y="3488769"/>
              <a:ext cx="2743200" cy="713232"/>
              <a:chOff x="854832" y="509397"/>
              <a:chExt cx="2743200" cy="713232"/>
            </a:xfrm>
          </p:grpSpPr>
          <p:sp>
            <p:nvSpPr>
              <p:cNvPr id="71" name="Rectangle 70">
                <a:extLst>
                  <a:ext uri="{FF2B5EF4-FFF2-40B4-BE49-F238E27FC236}">
                    <a16:creationId xmlns:a16="http://schemas.microsoft.com/office/drawing/2014/main" id="{E253C771-F3FA-48E4-9E6C-6C0FC82ED406}"/>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2" name="TextBox 71">
                <a:extLst>
                  <a:ext uri="{FF2B5EF4-FFF2-40B4-BE49-F238E27FC236}">
                    <a16:creationId xmlns:a16="http://schemas.microsoft.com/office/drawing/2014/main" id="{9E2C6BBC-0834-4CD2-8C01-BA57E3A1C58D}"/>
                  </a:ext>
                </a:extLst>
              </p:cNvPr>
              <p:cNvSpPr txBox="1"/>
              <p:nvPr/>
            </p:nvSpPr>
            <p:spPr>
              <a:xfrm>
                <a:off x="1463980" y="712390"/>
                <a:ext cx="1178912"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Event Hubs</a:t>
                </a:r>
              </a:p>
            </p:txBody>
          </p:sp>
        </p:grpSp>
        <p:grpSp>
          <p:nvGrpSpPr>
            <p:cNvPr id="60" name="Group 59">
              <a:extLst>
                <a:ext uri="{FF2B5EF4-FFF2-40B4-BE49-F238E27FC236}">
                  <a16:creationId xmlns:a16="http://schemas.microsoft.com/office/drawing/2014/main" id="{CD00669E-458B-4D9D-9232-52E8B4972F33}"/>
                </a:ext>
              </a:extLst>
            </p:cNvPr>
            <p:cNvGrpSpPr/>
            <p:nvPr/>
          </p:nvGrpSpPr>
          <p:grpSpPr>
            <a:xfrm>
              <a:off x="819769" y="4233612"/>
              <a:ext cx="2743200" cy="713232"/>
              <a:chOff x="854832" y="509397"/>
              <a:chExt cx="2743200" cy="713232"/>
            </a:xfrm>
          </p:grpSpPr>
          <p:sp>
            <p:nvSpPr>
              <p:cNvPr id="69" name="Rectangle 68">
                <a:extLst>
                  <a:ext uri="{FF2B5EF4-FFF2-40B4-BE49-F238E27FC236}">
                    <a16:creationId xmlns:a16="http://schemas.microsoft.com/office/drawing/2014/main" id="{AFF3EEE2-869A-464A-8DB1-3DEF9E9314F8}"/>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0" name="TextBox 69">
                <a:extLst>
                  <a:ext uri="{FF2B5EF4-FFF2-40B4-BE49-F238E27FC236}">
                    <a16:creationId xmlns:a16="http://schemas.microsoft.com/office/drawing/2014/main" id="{E4C34AC2-05D7-4F81-82B9-192401BA5AEA}"/>
                  </a:ext>
                </a:extLst>
              </p:cNvPr>
              <p:cNvSpPr txBox="1"/>
              <p:nvPr/>
            </p:nvSpPr>
            <p:spPr>
              <a:xfrm>
                <a:off x="1463980" y="712390"/>
                <a:ext cx="1460336"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Custom Topics</a:t>
                </a:r>
              </a:p>
            </p:txBody>
          </p:sp>
        </p:grpSp>
        <p:grpSp>
          <p:nvGrpSpPr>
            <p:cNvPr id="61" name="Group 60">
              <a:extLst>
                <a:ext uri="{FF2B5EF4-FFF2-40B4-BE49-F238E27FC236}">
                  <a16:creationId xmlns:a16="http://schemas.microsoft.com/office/drawing/2014/main" id="{726B7311-DD22-4E99-9C83-BCFBBE9A26A8}"/>
                </a:ext>
              </a:extLst>
            </p:cNvPr>
            <p:cNvGrpSpPr/>
            <p:nvPr/>
          </p:nvGrpSpPr>
          <p:grpSpPr>
            <a:xfrm>
              <a:off x="819769" y="4978457"/>
              <a:ext cx="2743200" cy="713232"/>
              <a:chOff x="854832" y="509397"/>
              <a:chExt cx="2743200" cy="713232"/>
            </a:xfrm>
          </p:grpSpPr>
          <p:sp>
            <p:nvSpPr>
              <p:cNvPr id="67" name="Rectangle 66">
                <a:extLst>
                  <a:ext uri="{FF2B5EF4-FFF2-40B4-BE49-F238E27FC236}">
                    <a16:creationId xmlns:a16="http://schemas.microsoft.com/office/drawing/2014/main" id="{60F509BD-78ED-45DB-84FC-6E8B27CC347F}"/>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8C36FD64-45C0-486F-9578-A1C6377FEE6A}"/>
                  </a:ext>
                </a:extLst>
              </p:cNvPr>
              <p:cNvSpPr txBox="1"/>
              <p:nvPr/>
            </p:nvSpPr>
            <p:spPr>
              <a:xfrm>
                <a:off x="1463980" y="712390"/>
                <a:ext cx="1492524"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Storage (GPv2)</a:t>
                </a:r>
              </a:p>
            </p:txBody>
          </p:sp>
        </p:grpSp>
        <p:pic>
          <p:nvPicPr>
            <p:cNvPr id="62" name="Picture 61">
              <a:extLst>
                <a:ext uri="{FF2B5EF4-FFF2-40B4-BE49-F238E27FC236}">
                  <a16:creationId xmlns:a16="http://schemas.microsoft.com/office/drawing/2014/main" id="{B675851A-4024-4B86-B908-CBA48E37C318}"/>
                </a:ext>
              </a:extLst>
            </p:cNvPr>
            <p:cNvPicPr>
              <a:picLocks noChangeAspect="1"/>
            </p:cNvPicPr>
            <p:nvPr/>
          </p:nvPicPr>
          <p:blipFill rotWithShape="1">
            <a:blip r:embed="rId6"/>
            <a:srcRect b="33533"/>
            <a:stretch/>
          </p:blipFill>
          <p:spPr>
            <a:xfrm>
              <a:off x="960291" y="3637869"/>
              <a:ext cx="415032" cy="415032"/>
            </a:xfrm>
            <a:prstGeom prst="rect">
              <a:avLst/>
            </a:prstGeom>
            <a:noFill/>
            <a:ln>
              <a:noFill/>
            </a:ln>
          </p:spPr>
        </p:pic>
        <p:pic>
          <p:nvPicPr>
            <p:cNvPr id="63" name="Picture 62">
              <a:extLst>
                <a:ext uri="{FF2B5EF4-FFF2-40B4-BE49-F238E27FC236}">
                  <a16:creationId xmlns:a16="http://schemas.microsoft.com/office/drawing/2014/main" id="{6236E48D-0064-41DA-8A25-686A9F4D8FDF}"/>
                </a:ext>
              </a:extLst>
            </p:cNvPr>
            <p:cNvPicPr>
              <a:picLocks noChangeAspect="1"/>
            </p:cNvPicPr>
            <p:nvPr/>
          </p:nvPicPr>
          <p:blipFill>
            <a:blip r:embed="rId7"/>
            <a:stretch>
              <a:fillRect/>
            </a:stretch>
          </p:blipFill>
          <p:spPr>
            <a:xfrm>
              <a:off x="960291" y="2893026"/>
              <a:ext cx="415032" cy="415032"/>
            </a:xfrm>
            <a:prstGeom prst="rect">
              <a:avLst/>
            </a:prstGeom>
            <a:noFill/>
            <a:ln>
              <a:noFill/>
            </a:ln>
          </p:spPr>
        </p:pic>
        <p:pic>
          <p:nvPicPr>
            <p:cNvPr id="64" name="Picture 63">
              <a:extLst>
                <a:ext uri="{FF2B5EF4-FFF2-40B4-BE49-F238E27FC236}">
                  <a16:creationId xmlns:a16="http://schemas.microsoft.com/office/drawing/2014/main" id="{69BA0831-4D77-4CD8-897C-4637150CA5F5}"/>
                </a:ext>
              </a:extLst>
            </p:cNvPr>
            <p:cNvPicPr>
              <a:picLocks noChangeAspect="1"/>
            </p:cNvPicPr>
            <p:nvPr/>
          </p:nvPicPr>
          <p:blipFill>
            <a:blip r:embed="rId8"/>
            <a:stretch>
              <a:fillRect/>
            </a:stretch>
          </p:blipFill>
          <p:spPr>
            <a:xfrm>
              <a:off x="962067" y="2149959"/>
              <a:ext cx="411480" cy="411480"/>
            </a:xfrm>
            <a:prstGeom prst="rect">
              <a:avLst/>
            </a:prstGeom>
            <a:noFill/>
            <a:ln>
              <a:noFill/>
            </a:ln>
          </p:spPr>
        </p:pic>
        <p:pic>
          <p:nvPicPr>
            <p:cNvPr id="65" name="Picture 64">
              <a:extLst>
                <a:ext uri="{FF2B5EF4-FFF2-40B4-BE49-F238E27FC236}">
                  <a16:creationId xmlns:a16="http://schemas.microsoft.com/office/drawing/2014/main" id="{5CD5ADDE-91CA-4081-BED0-16F310F87321}"/>
                </a:ext>
              </a:extLst>
            </p:cNvPr>
            <p:cNvPicPr>
              <a:picLocks noChangeAspect="1"/>
            </p:cNvPicPr>
            <p:nvPr/>
          </p:nvPicPr>
          <p:blipFill>
            <a:blip r:embed="rId9"/>
            <a:stretch>
              <a:fillRect/>
            </a:stretch>
          </p:blipFill>
          <p:spPr>
            <a:xfrm>
              <a:off x="962067" y="4384488"/>
              <a:ext cx="411480" cy="411480"/>
            </a:xfrm>
            <a:prstGeom prst="rect">
              <a:avLst/>
            </a:prstGeom>
            <a:solidFill>
              <a:schemeClr val="bg2"/>
            </a:solidFill>
            <a:ln>
              <a:noFill/>
            </a:ln>
          </p:spPr>
        </p:pic>
        <p:pic>
          <p:nvPicPr>
            <p:cNvPr id="66" name="Graphic 65">
              <a:extLst>
                <a:ext uri="{FF2B5EF4-FFF2-40B4-BE49-F238E27FC236}">
                  <a16:creationId xmlns:a16="http://schemas.microsoft.com/office/drawing/2014/main" id="{5181AAD8-BCB3-4A4B-A705-AC6EA273B7F4}"/>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32937" t="26233" r="33290" b="30261"/>
            <a:stretch/>
          </p:blipFill>
          <p:spPr>
            <a:xfrm>
              <a:off x="962067" y="5129333"/>
              <a:ext cx="411480" cy="411480"/>
            </a:xfrm>
            <a:prstGeom prst="rect">
              <a:avLst/>
            </a:prstGeom>
          </p:spPr>
        </p:pic>
      </p:grpSp>
      <p:grpSp>
        <p:nvGrpSpPr>
          <p:cNvPr id="81" name="Group 80">
            <a:extLst>
              <a:ext uri="{FF2B5EF4-FFF2-40B4-BE49-F238E27FC236}">
                <a16:creationId xmlns:a16="http://schemas.microsoft.com/office/drawing/2014/main" id="{ADA075C8-0D7D-4618-96DD-8CEB641C8ED7}"/>
              </a:ext>
            </a:extLst>
          </p:cNvPr>
          <p:cNvGrpSpPr/>
          <p:nvPr/>
        </p:nvGrpSpPr>
        <p:grpSpPr>
          <a:xfrm>
            <a:off x="9525782" y="1850617"/>
            <a:ext cx="2743200" cy="3691553"/>
            <a:chOff x="8627998" y="1202545"/>
            <a:chExt cx="2743200" cy="3691553"/>
          </a:xfrm>
        </p:grpSpPr>
        <p:grpSp>
          <p:nvGrpSpPr>
            <p:cNvPr id="82" name="Group 81">
              <a:extLst>
                <a:ext uri="{FF2B5EF4-FFF2-40B4-BE49-F238E27FC236}">
                  <a16:creationId xmlns:a16="http://schemas.microsoft.com/office/drawing/2014/main" id="{EAD24EFA-FAE2-436B-B1B9-AA1DE63DC1A0}"/>
                </a:ext>
              </a:extLst>
            </p:cNvPr>
            <p:cNvGrpSpPr/>
            <p:nvPr/>
          </p:nvGrpSpPr>
          <p:grpSpPr>
            <a:xfrm>
              <a:off x="8627998" y="1202545"/>
              <a:ext cx="2743200" cy="713232"/>
              <a:chOff x="7840049" y="754291"/>
              <a:chExt cx="2743200" cy="713232"/>
            </a:xfrm>
          </p:grpSpPr>
          <p:sp>
            <p:nvSpPr>
              <p:cNvPr id="100" name="Rectangle 99">
                <a:extLst>
                  <a:ext uri="{FF2B5EF4-FFF2-40B4-BE49-F238E27FC236}">
                    <a16:creationId xmlns:a16="http://schemas.microsoft.com/office/drawing/2014/main" id="{C82B2364-5B8A-4CD0-8D9F-6AD4FA140923}"/>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TextBox 100">
                <a:extLst>
                  <a:ext uri="{FF2B5EF4-FFF2-40B4-BE49-F238E27FC236}">
                    <a16:creationId xmlns:a16="http://schemas.microsoft.com/office/drawing/2014/main" id="{58C556CA-3F35-45A4-A211-3483FDE49E6B}"/>
                  </a:ext>
                </a:extLst>
              </p:cNvPr>
              <p:cNvSpPr txBox="1"/>
              <p:nvPr/>
            </p:nvSpPr>
            <p:spPr>
              <a:xfrm>
                <a:off x="8449197" y="957284"/>
                <a:ext cx="1592615"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Functions</a:t>
                </a:r>
              </a:p>
            </p:txBody>
          </p:sp>
        </p:grpSp>
        <p:grpSp>
          <p:nvGrpSpPr>
            <p:cNvPr id="83" name="Group 82">
              <a:extLst>
                <a:ext uri="{FF2B5EF4-FFF2-40B4-BE49-F238E27FC236}">
                  <a16:creationId xmlns:a16="http://schemas.microsoft.com/office/drawing/2014/main" id="{261831C9-5161-476C-9EEA-933FBF788D4E}"/>
                </a:ext>
              </a:extLst>
            </p:cNvPr>
            <p:cNvGrpSpPr/>
            <p:nvPr/>
          </p:nvGrpSpPr>
          <p:grpSpPr>
            <a:xfrm>
              <a:off x="8627998" y="1947125"/>
              <a:ext cx="2743200" cy="713232"/>
              <a:chOff x="7840049" y="754291"/>
              <a:chExt cx="2743200" cy="713232"/>
            </a:xfrm>
          </p:grpSpPr>
          <p:sp>
            <p:nvSpPr>
              <p:cNvPr id="98" name="Rectangle 97">
                <a:extLst>
                  <a:ext uri="{FF2B5EF4-FFF2-40B4-BE49-F238E27FC236}">
                    <a16:creationId xmlns:a16="http://schemas.microsoft.com/office/drawing/2014/main" id="{F49E567B-175A-433B-B6D6-339B8BC037C1}"/>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9" name="TextBox 98">
                <a:extLst>
                  <a:ext uri="{FF2B5EF4-FFF2-40B4-BE49-F238E27FC236}">
                    <a16:creationId xmlns:a16="http://schemas.microsoft.com/office/drawing/2014/main" id="{BFADE3D6-8596-4BBE-AEDD-BFCD1DC3FFF3}"/>
                  </a:ext>
                </a:extLst>
              </p:cNvPr>
              <p:cNvSpPr txBox="1"/>
              <p:nvPr/>
            </p:nvSpPr>
            <p:spPr>
              <a:xfrm>
                <a:off x="8449197" y="957284"/>
                <a:ext cx="1157689"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Logic Apps</a:t>
                </a:r>
              </a:p>
            </p:txBody>
          </p:sp>
        </p:grpSp>
        <p:grpSp>
          <p:nvGrpSpPr>
            <p:cNvPr id="84" name="Group 83">
              <a:extLst>
                <a:ext uri="{FF2B5EF4-FFF2-40B4-BE49-F238E27FC236}">
                  <a16:creationId xmlns:a16="http://schemas.microsoft.com/office/drawing/2014/main" id="{03CFB330-2CBB-4232-8516-0EAED7B7BE96}"/>
                </a:ext>
              </a:extLst>
            </p:cNvPr>
            <p:cNvGrpSpPr/>
            <p:nvPr/>
          </p:nvGrpSpPr>
          <p:grpSpPr>
            <a:xfrm>
              <a:off x="8627998" y="2691705"/>
              <a:ext cx="2743200" cy="713232"/>
              <a:chOff x="7840049" y="754291"/>
              <a:chExt cx="2743200" cy="713232"/>
            </a:xfrm>
          </p:grpSpPr>
          <p:sp>
            <p:nvSpPr>
              <p:cNvPr id="96" name="Rectangle 95">
                <a:extLst>
                  <a:ext uri="{FF2B5EF4-FFF2-40B4-BE49-F238E27FC236}">
                    <a16:creationId xmlns:a16="http://schemas.microsoft.com/office/drawing/2014/main" id="{DE99F75E-A769-4DC6-8264-FBB5757B2187}"/>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TextBox 96">
                <a:extLst>
                  <a:ext uri="{FF2B5EF4-FFF2-40B4-BE49-F238E27FC236}">
                    <a16:creationId xmlns:a16="http://schemas.microsoft.com/office/drawing/2014/main" id="{9CD73243-8BEB-4FE5-865C-8184AB0AE87C}"/>
                  </a:ext>
                </a:extLst>
              </p:cNvPr>
              <p:cNvSpPr txBox="1"/>
              <p:nvPr/>
            </p:nvSpPr>
            <p:spPr>
              <a:xfrm>
                <a:off x="8449197" y="957284"/>
                <a:ext cx="1792991"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Automation</a:t>
                </a:r>
              </a:p>
            </p:txBody>
          </p:sp>
        </p:grpSp>
        <p:grpSp>
          <p:nvGrpSpPr>
            <p:cNvPr id="85" name="Group 84">
              <a:extLst>
                <a:ext uri="{FF2B5EF4-FFF2-40B4-BE49-F238E27FC236}">
                  <a16:creationId xmlns:a16="http://schemas.microsoft.com/office/drawing/2014/main" id="{9DE88818-48C9-4C1D-9690-D054EE7BEDDF}"/>
                </a:ext>
              </a:extLst>
            </p:cNvPr>
            <p:cNvGrpSpPr/>
            <p:nvPr/>
          </p:nvGrpSpPr>
          <p:grpSpPr>
            <a:xfrm>
              <a:off x="8627998" y="3436285"/>
              <a:ext cx="2743200" cy="713232"/>
              <a:chOff x="7840049" y="754291"/>
              <a:chExt cx="2743200" cy="713232"/>
            </a:xfrm>
          </p:grpSpPr>
          <p:sp>
            <p:nvSpPr>
              <p:cNvPr id="94" name="Rectangle 93">
                <a:extLst>
                  <a:ext uri="{FF2B5EF4-FFF2-40B4-BE49-F238E27FC236}">
                    <a16:creationId xmlns:a16="http://schemas.microsoft.com/office/drawing/2014/main" id="{8513CC5C-BB9D-48C9-B9BE-1760A94D8989}"/>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5" name="TextBox 94">
                <a:extLst>
                  <a:ext uri="{FF2B5EF4-FFF2-40B4-BE49-F238E27FC236}">
                    <a16:creationId xmlns:a16="http://schemas.microsoft.com/office/drawing/2014/main" id="{D73ACBBA-38F4-420F-93B6-507ACA2D9D3E}"/>
                  </a:ext>
                </a:extLst>
              </p:cNvPr>
              <p:cNvSpPr txBox="1"/>
              <p:nvPr/>
            </p:nvSpPr>
            <p:spPr>
              <a:xfrm>
                <a:off x="8449197" y="957284"/>
                <a:ext cx="1146339"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WebHooks</a:t>
                </a:r>
              </a:p>
            </p:txBody>
          </p:sp>
        </p:grpSp>
        <p:grpSp>
          <p:nvGrpSpPr>
            <p:cNvPr id="86" name="Group 85">
              <a:extLst>
                <a:ext uri="{FF2B5EF4-FFF2-40B4-BE49-F238E27FC236}">
                  <a16:creationId xmlns:a16="http://schemas.microsoft.com/office/drawing/2014/main" id="{292B3F6A-8FC0-4B0B-8173-90980C852C7F}"/>
                </a:ext>
              </a:extLst>
            </p:cNvPr>
            <p:cNvGrpSpPr/>
            <p:nvPr/>
          </p:nvGrpSpPr>
          <p:grpSpPr>
            <a:xfrm>
              <a:off x="8627998" y="4180866"/>
              <a:ext cx="2743200" cy="713232"/>
              <a:chOff x="7840049" y="754291"/>
              <a:chExt cx="2743200" cy="713232"/>
            </a:xfrm>
          </p:grpSpPr>
          <p:sp>
            <p:nvSpPr>
              <p:cNvPr id="92" name="Rectangle 91">
                <a:extLst>
                  <a:ext uri="{FF2B5EF4-FFF2-40B4-BE49-F238E27FC236}">
                    <a16:creationId xmlns:a16="http://schemas.microsoft.com/office/drawing/2014/main" id="{D5BD5804-9D92-4842-9152-E4D5A9006014}"/>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3" name="TextBox 92">
                <a:extLst>
                  <a:ext uri="{FF2B5EF4-FFF2-40B4-BE49-F238E27FC236}">
                    <a16:creationId xmlns:a16="http://schemas.microsoft.com/office/drawing/2014/main" id="{C7DEE0BB-AEDC-4358-AF87-204EA0B5F635}"/>
                  </a:ext>
                </a:extLst>
              </p:cNvPr>
              <p:cNvSpPr txBox="1"/>
              <p:nvPr/>
            </p:nvSpPr>
            <p:spPr>
              <a:xfrm>
                <a:off x="8449197" y="957284"/>
                <a:ext cx="1178912"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Event Hubs</a:t>
                </a:r>
              </a:p>
            </p:txBody>
          </p:sp>
        </p:grpSp>
        <p:pic>
          <p:nvPicPr>
            <p:cNvPr id="87" name="Picture 86">
              <a:extLst>
                <a:ext uri="{FF2B5EF4-FFF2-40B4-BE49-F238E27FC236}">
                  <a16:creationId xmlns:a16="http://schemas.microsoft.com/office/drawing/2014/main" id="{FFE631AF-3800-4706-87C5-5C44816EFAFA}"/>
                </a:ext>
              </a:extLst>
            </p:cNvPr>
            <p:cNvPicPr>
              <a:picLocks noChangeAspect="1"/>
            </p:cNvPicPr>
            <p:nvPr/>
          </p:nvPicPr>
          <p:blipFill>
            <a:blip r:embed="rId12"/>
            <a:stretch>
              <a:fillRect/>
            </a:stretch>
          </p:blipFill>
          <p:spPr>
            <a:xfrm>
              <a:off x="8767847" y="1353421"/>
              <a:ext cx="411480" cy="411480"/>
            </a:xfrm>
            <a:prstGeom prst="rect">
              <a:avLst/>
            </a:prstGeom>
            <a:noFill/>
            <a:ln>
              <a:noFill/>
            </a:ln>
          </p:spPr>
        </p:pic>
        <p:pic>
          <p:nvPicPr>
            <p:cNvPr id="88" name="Picture 87">
              <a:extLst>
                <a:ext uri="{FF2B5EF4-FFF2-40B4-BE49-F238E27FC236}">
                  <a16:creationId xmlns:a16="http://schemas.microsoft.com/office/drawing/2014/main" id="{3C903467-F0D8-4B33-AD62-697147AD8FCA}"/>
                </a:ext>
              </a:extLst>
            </p:cNvPr>
            <p:cNvPicPr>
              <a:picLocks noChangeAspect="1"/>
            </p:cNvPicPr>
            <p:nvPr/>
          </p:nvPicPr>
          <p:blipFill>
            <a:blip r:embed="rId13"/>
            <a:stretch>
              <a:fillRect/>
            </a:stretch>
          </p:blipFill>
          <p:spPr>
            <a:xfrm>
              <a:off x="8767847" y="2842581"/>
              <a:ext cx="411480" cy="411480"/>
            </a:xfrm>
            <a:prstGeom prst="rect">
              <a:avLst/>
            </a:prstGeom>
            <a:noFill/>
            <a:ln>
              <a:noFill/>
            </a:ln>
          </p:spPr>
        </p:pic>
        <p:pic>
          <p:nvPicPr>
            <p:cNvPr id="89" name="Picture 88">
              <a:extLst>
                <a:ext uri="{FF2B5EF4-FFF2-40B4-BE49-F238E27FC236}">
                  <a16:creationId xmlns:a16="http://schemas.microsoft.com/office/drawing/2014/main" id="{4378E78F-3FD9-4EC4-9B56-3E5CC7C4B7DA}"/>
                </a:ext>
              </a:extLst>
            </p:cNvPr>
            <p:cNvPicPr>
              <a:picLocks noChangeAspect="1"/>
            </p:cNvPicPr>
            <p:nvPr/>
          </p:nvPicPr>
          <p:blipFill>
            <a:blip r:embed="rId14"/>
            <a:stretch>
              <a:fillRect/>
            </a:stretch>
          </p:blipFill>
          <p:spPr>
            <a:xfrm>
              <a:off x="8767847" y="3587161"/>
              <a:ext cx="411480" cy="411480"/>
            </a:xfrm>
            <a:prstGeom prst="rect">
              <a:avLst/>
            </a:prstGeom>
            <a:noFill/>
            <a:ln>
              <a:noFill/>
            </a:ln>
          </p:spPr>
        </p:pic>
        <p:pic>
          <p:nvPicPr>
            <p:cNvPr id="90" name="Picture 89">
              <a:extLst>
                <a:ext uri="{FF2B5EF4-FFF2-40B4-BE49-F238E27FC236}">
                  <a16:creationId xmlns:a16="http://schemas.microsoft.com/office/drawing/2014/main" id="{8041B83C-B255-4603-9E4A-FB074134531B}"/>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767847" y="2098001"/>
              <a:ext cx="411480" cy="411480"/>
            </a:xfrm>
            <a:prstGeom prst="rect">
              <a:avLst/>
            </a:prstGeom>
            <a:noFill/>
            <a:ln>
              <a:noFill/>
            </a:ln>
          </p:spPr>
        </p:pic>
        <p:pic>
          <p:nvPicPr>
            <p:cNvPr id="91" name="Picture 90">
              <a:extLst>
                <a:ext uri="{FF2B5EF4-FFF2-40B4-BE49-F238E27FC236}">
                  <a16:creationId xmlns:a16="http://schemas.microsoft.com/office/drawing/2014/main" id="{4F9C6029-C099-489D-9314-29034C878938}"/>
                </a:ext>
              </a:extLst>
            </p:cNvPr>
            <p:cNvPicPr>
              <a:picLocks noChangeAspect="1"/>
            </p:cNvPicPr>
            <p:nvPr/>
          </p:nvPicPr>
          <p:blipFill rotWithShape="1">
            <a:blip r:embed="rId6"/>
            <a:srcRect t="387" b="33144"/>
            <a:stretch/>
          </p:blipFill>
          <p:spPr>
            <a:xfrm>
              <a:off x="8766071" y="4329966"/>
              <a:ext cx="415032" cy="415032"/>
            </a:xfrm>
            <a:prstGeom prst="rect">
              <a:avLst/>
            </a:prstGeom>
            <a:noFill/>
            <a:ln>
              <a:noFill/>
            </a:ln>
          </p:spPr>
        </p:pic>
      </p:grpSp>
      <p:grpSp>
        <p:nvGrpSpPr>
          <p:cNvPr id="102" name="Group 101">
            <a:extLst>
              <a:ext uri="{FF2B5EF4-FFF2-40B4-BE49-F238E27FC236}">
                <a16:creationId xmlns:a16="http://schemas.microsoft.com/office/drawing/2014/main" id="{8E283A9B-F4A8-4B73-80A4-728F9E68A991}"/>
              </a:ext>
            </a:extLst>
          </p:cNvPr>
          <p:cNvGrpSpPr/>
          <p:nvPr/>
        </p:nvGrpSpPr>
        <p:grpSpPr>
          <a:xfrm>
            <a:off x="9112264" y="2746073"/>
            <a:ext cx="401816" cy="1900975"/>
            <a:chOff x="7224067" y="2912948"/>
            <a:chExt cx="661140" cy="2468880"/>
          </a:xfrm>
        </p:grpSpPr>
        <p:sp>
          <p:nvSpPr>
            <p:cNvPr id="103" name="Freeform 5">
              <a:extLst>
                <a:ext uri="{FF2B5EF4-FFF2-40B4-BE49-F238E27FC236}">
                  <a16:creationId xmlns:a16="http://schemas.microsoft.com/office/drawing/2014/main" id="{932A45EA-769F-41D2-91BF-73C0812EFD0E}"/>
                </a:ext>
              </a:extLst>
            </p:cNvPr>
            <p:cNvSpPr>
              <a:spLocks/>
            </p:cNvSpPr>
            <p:nvPr/>
          </p:nvSpPr>
          <p:spPr bwMode="auto">
            <a:xfrm rot="10800000">
              <a:off x="7224067" y="2912948"/>
              <a:ext cx="228600" cy="24688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9050"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2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04" name="arrow">
              <a:extLst>
                <a:ext uri="{FF2B5EF4-FFF2-40B4-BE49-F238E27FC236}">
                  <a16:creationId xmlns:a16="http://schemas.microsoft.com/office/drawing/2014/main" id="{F1760684-375C-4F0D-A0B0-6670B18DD4A6}"/>
                </a:ext>
              </a:extLst>
            </p:cNvPr>
            <p:cNvSpPr>
              <a:spLocks noChangeAspect="1" noEditPoints="1"/>
            </p:cNvSpPr>
            <p:nvPr/>
          </p:nvSpPr>
          <p:spPr bwMode="auto">
            <a:xfrm>
              <a:off x="7614477"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rgbClr val="0070C0"/>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2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05" name="TextBox 104">
            <a:extLst>
              <a:ext uri="{FF2B5EF4-FFF2-40B4-BE49-F238E27FC236}">
                <a16:creationId xmlns:a16="http://schemas.microsoft.com/office/drawing/2014/main" id="{E8A067E8-EAF1-4C7E-B24F-5B98F865BD0B}"/>
              </a:ext>
            </a:extLst>
          </p:cNvPr>
          <p:cNvSpPr txBox="1"/>
          <p:nvPr/>
        </p:nvSpPr>
        <p:spPr>
          <a:xfrm>
            <a:off x="4313508" y="551521"/>
            <a:ext cx="3043818" cy="690899"/>
          </a:xfrm>
          <a:prstGeom prst="rect">
            <a:avLst/>
          </a:prstGeom>
          <a:noFill/>
          <a:ln>
            <a:noFill/>
          </a:ln>
        </p:spPr>
        <p:txBody>
          <a:bodyPr wrap="square" lIns="182828" tIns="146262" rIns="182828" bIns="146262" rtlCol="0">
            <a:spAutoFit/>
          </a:bodyPr>
          <a:lstStyle/>
          <a:p>
            <a:pPr marL="0" marR="0" lvl="0" indent="0" algn="ctr" defTabSz="1242714" rtl="0" eaLnBrk="1" fontAlgn="auto" latinLnBrk="0" hangingPunct="1">
              <a:lnSpc>
                <a:spcPct val="90000"/>
              </a:lnSpc>
              <a:spcBef>
                <a:spcPts val="0"/>
              </a:spcBef>
              <a:spcAft>
                <a:spcPts val="1224"/>
              </a:spcAft>
              <a:buClrTx/>
              <a:buSzTx/>
              <a:buFontTx/>
              <a:buNone/>
              <a:tabLst/>
              <a:defRPr/>
            </a:pPr>
            <a:r>
              <a:rPr kumimoji="0" lang="en-US" sz="2800" b="0" i="0" u="none" strike="noStrike" kern="0" cap="none" spc="0" normalizeH="0" baseline="0" noProof="0">
                <a:ln>
                  <a:noFill/>
                </a:ln>
                <a:gradFill>
                  <a:gsLst>
                    <a:gs pos="16250">
                      <a:srgbClr val="353535"/>
                    </a:gs>
                    <a:gs pos="36000">
                      <a:srgbClr val="353535"/>
                    </a:gs>
                  </a:gsLst>
                  <a:lin ang="5400000" scaled="0"/>
                </a:gradFill>
                <a:effectLst/>
                <a:uLnTx/>
                <a:uFillTx/>
                <a:latin typeface="Segoe UI Semilight"/>
                <a:ea typeface="+mn-ea"/>
                <a:cs typeface="Segoe UI"/>
              </a:rPr>
              <a:t>Event publishers</a:t>
            </a:r>
          </a:p>
        </p:txBody>
      </p:sp>
      <p:sp>
        <p:nvSpPr>
          <p:cNvPr id="106" name="TextBox 105">
            <a:extLst>
              <a:ext uri="{FF2B5EF4-FFF2-40B4-BE49-F238E27FC236}">
                <a16:creationId xmlns:a16="http://schemas.microsoft.com/office/drawing/2014/main" id="{AE22D86A-0A14-4C63-838D-E65B1D9C326C}"/>
              </a:ext>
            </a:extLst>
          </p:cNvPr>
          <p:cNvSpPr txBox="1"/>
          <p:nvPr/>
        </p:nvSpPr>
        <p:spPr>
          <a:xfrm>
            <a:off x="9291297" y="1235156"/>
            <a:ext cx="2742421" cy="690899"/>
          </a:xfrm>
          <a:prstGeom prst="rect">
            <a:avLst/>
          </a:prstGeom>
          <a:noFill/>
          <a:ln>
            <a:noFill/>
          </a:ln>
        </p:spPr>
        <p:txBody>
          <a:bodyPr wrap="square" lIns="182828" tIns="146262" rIns="182828" bIns="146262" rtlCol="0">
            <a:spAutoFit/>
          </a:bodyPr>
          <a:lstStyle/>
          <a:p>
            <a:pPr marL="0" marR="0" lvl="0" indent="0" algn="ctr" defTabSz="1242714" rtl="0" eaLnBrk="1" fontAlgn="auto" latinLnBrk="0" hangingPunct="1">
              <a:lnSpc>
                <a:spcPct val="90000"/>
              </a:lnSpc>
              <a:spcBef>
                <a:spcPts val="0"/>
              </a:spcBef>
              <a:spcAft>
                <a:spcPts val="1224"/>
              </a:spcAft>
              <a:buClrTx/>
              <a:buSzTx/>
              <a:buFontTx/>
              <a:buNone/>
              <a:tabLst/>
              <a:defRPr/>
            </a:pPr>
            <a:r>
              <a:rPr kumimoji="0" lang="en-US" sz="2800" b="0" i="0" u="none" strike="noStrike" kern="0" cap="none" spc="0" normalizeH="0" baseline="0" noProof="0">
                <a:ln>
                  <a:noFill/>
                </a:ln>
                <a:gradFill>
                  <a:gsLst>
                    <a:gs pos="16250">
                      <a:srgbClr val="353535"/>
                    </a:gs>
                    <a:gs pos="36000">
                      <a:srgbClr val="353535"/>
                    </a:gs>
                  </a:gsLst>
                  <a:lin ang="5400000" scaled="0"/>
                </a:gradFill>
                <a:effectLst/>
                <a:uLnTx/>
                <a:uFillTx/>
                <a:latin typeface="Segoe UI Semilight"/>
                <a:ea typeface="+mn-ea"/>
                <a:cs typeface="Segoe UI"/>
              </a:rPr>
              <a:t>Event handlers</a:t>
            </a:r>
          </a:p>
        </p:txBody>
      </p:sp>
    </p:spTree>
    <p:extLst>
      <p:ext uri="{BB962C8B-B14F-4D97-AF65-F5344CB8AC3E}">
        <p14:creationId xmlns:p14="http://schemas.microsoft.com/office/powerpoint/2010/main" val="27557373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nodeType="withEffect">
                                  <p:stCondLst>
                                    <p:cond delay="300"/>
                                  </p:stCondLst>
                                  <p:childTnLst>
                                    <p:animMotion origin="layout" path="M -4.79167E-6 1.85185E-6 L -0.02578 1.85185E-6 " pathEditMode="relative" rAng="0" ptsTypes="AA">
                                      <p:cBhvr>
                                        <p:cTn id="9" dur="500" spd="-100000" fill="hold"/>
                                        <p:tgtEl>
                                          <p:spTgt spid="102"/>
                                        </p:tgtEl>
                                        <p:attrNameLst>
                                          <p:attrName>ppt_x</p:attrName>
                                          <p:attrName>ppt_y</p:attrName>
                                        </p:attrNameLst>
                                      </p:cBhvr>
                                      <p:rCtr x="-1289" y="0"/>
                                    </p:animMotion>
                                  </p:childTnLst>
                                </p:cTn>
                              </p:par>
                              <p:par>
                                <p:cTn id="10" presetID="10" presetClass="entr" presetSubtype="0" fill="hold" grpId="0" nodeType="withEffect">
                                  <p:stCondLst>
                                    <p:cond delay="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63" presetClass="path" presetSubtype="0" decel="100000" fill="hold" grpId="1" nodeType="withEffect">
                                  <p:stCondLst>
                                    <p:cond delay="0"/>
                                  </p:stCondLst>
                                  <p:childTnLst>
                                    <p:animMotion origin="layout" path="M 4.16667E-6 2.22222E-6 L -0.02579 2.22222E-6 " pathEditMode="relative" rAng="0" ptsTypes="AA">
                                      <p:cBhvr>
                                        <p:cTn id="14" dur="500" spd="-100000" fill="hold"/>
                                        <p:tgtEl>
                                          <p:spTgt spid="105"/>
                                        </p:tgtEl>
                                        <p:attrNameLst>
                                          <p:attrName>ppt_x</p:attrName>
                                          <p:attrName>ppt_y</p:attrName>
                                        </p:attrNameLst>
                                      </p:cBhvr>
                                      <p:rCtr x="-1289" y="0"/>
                                    </p:animMotion>
                                  </p:childTnLst>
                                </p:cTn>
                              </p:par>
                              <p:par>
                                <p:cTn id="15" presetID="10" presetClass="entr" presetSubtype="0" fill="hold" grpId="0" nodeType="withEffect">
                                  <p:stCondLst>
                                    <p:cond delay="400"/>
                                  </p:stCondLst>
                                  <p:childTnLst>
                                    <p:set>
                                      <p:cBhvr>
                                        <p:cTn id="16" dur="1" fill="hold">
                                          <p:stCondLst>
                                            <p:cond delay="0"/>
                                          </p:stCondLst>
                                        </p:cTn>
                                        <p:tgtEl>
                                          <p:spTgt spid="106"/>
                                        </p:tgtEl>
                                        <p:attrNameLst>
                                          <p:attrName>style.visibility</p:attrName>
                                        </p:attrNameLst>
                                      </p:cBhvr>
                                      <p:to>
                                        <p:strVal val="visible"/>
                                      </p:to>
                                    </p:set>
                                    <p:animEffect transition="in" filter="fade">
                                      <p:cBhvr>
                                        <p:cTn id="17" dur="500"/>
                                        <p:tgtEl>
                                          <p:spTgt spid="106"/>
                                        </p:tgtEl>
                                      </p:cBhvr>
                                    </p:animEffect>
                                  </p:childTnLst>
                                </p:cTn>
                              </p:par>
                              <p:par>
                                <p:cTn id="18" presetID="63" presetClass="path" presetSubtype="0" decel="100000" fill="hold" grpId="1" nodeType="withEffect">
                                  <p:stCondLst>
                                    <p:cond delay="400"/>
                                  </p:stCondLst>
                                  <p:childTnLst>
                                    <p:animMotion origin="layout" path="M 2.08333E-6 -2.59259E-6 L -0.02578 -2.59259E-6 " pathEditMode="relative" rAng="0" ptsTypes="AA">
                                      <p:cBhvr>
                                        <p:cTn id="19" dur="500" spd="-100000" fill="hold"/>
                                        <p:tgtEl>
                                          <p:spTgt spid="106"/>
                                        </p:tgtEl>
                                        <p:attrNameLst>
                                          <p:attrName>ppt_x</p:attrName>
                                          <p:attrName>ppt_y</p:attrName>
                                        </p:attrNameLst>
                                      </p:cBhvr>
                                      <p:rCtr x="-12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P spid="105" grpId="1"/>
      <p:bldP spid="106" grpId="0"/>
      <p:bldP spid="106"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496"/>
            <a:ext cx="3809457" cy="6993532"/>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Event Grid delivers at massive scale</a:t>
            </a: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315598" y="4612965"/>
            <a:ext cx="219956" cy="17381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TextBox 12">
            <a:extLst>
              <a:ext uri="{FF2B5EF4-FFF2-40B4-BE49-F238E27FC236}">
                <a16:creationId xmlns:a16="http://schemas.microsoft.com/office/drawing/2014/main" id="{733B7DE8-40E8-4733-887C-DCFAA02A5524}"/>
              </a:ext>
            </a:extLst>
          </p:cNvPr>
          <p:cNvSpPr txBox="1"/>
          <p:nvPr/>
        </p:nvSpPr>
        <p:spPr>
          <a:xfrm>
            <a:off x="10090403" y="4289170"/>
            <a:ext cx="2250661" cy="561566"/>
          </a:xfrm>
          <a:prstGeom prst="rect">
            <a:avLst/>
          </a:prstGeom>
          <a:noFill/>
        </p:spPr>
        <p:txBody>
          <a:bodyPr wrap="square" lIns="95103" tIns="152166" rIns="190207" bIns="152166"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67932" rtl="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High reliability</a:t>
            </a:r>
          </a:p>
        </p:txBody>
      </p:sp>
      <p:sp>
        <p:nvSpPr>
          <p:cNvPr id="23" name="TextBox 13">
            <a:extLst>
              <a:ext uri="{FF2B5EF4-FFF2-40B4-BE49-F238E27FC236}">
                <a16:creationId xmlns:a16="http://schemas.microsoft.com/office/drawing/2014/main" id="{5E556E2E-B997-4029-8DBE-859DC92E96BA}"/>
              </a:ext>
            </a:extLst>
          </p:cNvPr>
          <p:cNvSpPr txBox="1"/>
          <p:nvPr/>
        </p:nvSpPr>
        <p:spPr>
          <a:xfrm>
            <a:off x="4500436" y="4274762"/>
            <a:ext cx="2250661" cy="561566"/>
          </a:xfrm>
          <a:prstGeom prst="rect">
            <a:avLst/>
          </a:prstGeom>
          <a:noFill/>
        </p:spPr>
        <p:txBody>
          <a:bodyPr wrap="square" lIns="95103" tIns="152166" rIns="190207" bIns="152166"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67932" rtl="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a:t>
            </a:r>
          </a:p>
        </p:txBody>
      </p:sp>
      <p:sp>
        <p:nvSpPr>
          <p:cNvPr id="24" name="TextBox 14">
            <a:extLst>
              <a:ext uri="{FF2B5EF4-FFF2-40B4-BE49-F238E27FC236}">
                <a16:creationId xmlns:a16="http://schemas.microsoft.com/office/drawing/2014/main" id="{04F41BC9-CA99-4C62-9C23-D93CD2A44B71}"/>
              </a:ext>
            </a:extLst>
          </p:cNvPr>
          <p:cNvSpPr txBox="1"/>
          <p:nvPr/>
        </p:nvSpPr>
        <p:spPr>
          <a:xfrm>
            <a:off x="7260575" y="4289169"/>
            <a:ext cx="2250661" cy="561566"/>
          </a:xfrm>
          <a:prstGeom prst="rect">
            <a:avLst/>
          </a:prstGeom>
          <a:noFill/>
        </p:spPr>
        <p:txBody>
          <a:bodyPr wrap="square" lIns="95103" tIns="152166" rIns="190207" bIns="152166"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67932" rtl="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Massive scale-out</a:t>
            </a:r>
          </a:p>
        </p:txBody>
      </p:sp>
      <p:grpSp>
        <p:nvGrpSpPr>
          <p:cNvPr id="25" name="Group 24">
            <a:extLst>
              <a:ext uri="{FF2B5EF4-FFF2-40B4-BE49-F238E27FC236}">
                <a16:creationId xmlns:a16="http://schemas.microsoft.com/office/drawing/2014/main" id="{E56624A9-B124-4842-8BB8-797F73F7EBB0}"/>
              </a:ext>
            </a:extLst>
          </p:cNvPr>
          <p:cNvGrpSpPr/>
          <p:nvPr/>
        </p:nvGrpSpPr>
        <p:grpSpPr>
          <a:xfrm>
            <a:off x="4430747" y="2602405"/>
            <a:ext cx="2390039" cy="1486337"/>
            <a:chOff x="719746" y="2876961"/>
            <a:chExt cx="3069854" cy="1581641"/>
          </a:xfrm>
        </p:grpSpPr>
        <p:sp>
          <p:nvSpPr>
            <p:cNvPr id="26" name="Freeform 50">
              <a:extLst>
                <a:ext uri="{FF2B5EF4-FFF2-40B4-BE49-F238E27FC236}">
                  <a16:creationId xmlns:a16="http://schemas.microsoft.com/office/drawing/2014/main" id="{FD1E9629-BC6A-418B-B999-367F482343ED}"/>
                </a:ext>
              </a:extLst>
            </p:cNvPr>
            <p:cNvSpPr>
              <a:spLocks/>
            </p:cNvSpPr>
            <p:nvPr/>
          </p:nvSpPr>
          <p:spPr bwMode="auto">
            <a:xfrm>
              <a:off x="719746" y="2876961"/>
              <a:ext cx="3069854" cy="158164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51121"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 name="TextBox 62">
              <a:extLst>
                <a:ext uri="{FF2B5EF4-FFF2-40B4-BE49-F238E27FC236}">
                  <a16:creationId xmlns:a16="http://schemas.microsoft.com/office/drawing/2014/main" id="{003F980E-E97C-497A-B80B-85C391CC5182}"/>
                </a:ext>
              </a:extLst>
            </p:cNvPr>
            <p:cNvSpPr txBox="1"/>
            <p:nvPr/>
          </p:nvSpPr>
          <p:spPr>
            <a:xfrm>
              <a:off x="1050062" y="3445454"/>
              <a:ext cx="2409224" cy="729531"/>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50961" rtl="0" eaLnBrk="1" fontAlgn="auto" latinLnBrk="0" hangingPunct="1">
                <a:lnSpc>
                  <a:spcPct val="90000"/>
                </a:lnSpc>
                <a:spcBef>
                  <a:spcPts val="0"/>
                </a:spcBef>
                <a:spcAft>
                  <a:spcPts val="520"/>
                </a:spcAft>
                <a:buClrTx/>
                <a:buSzPct val="90000"/>
                <a:buFontTx/>
                <a:buNone/>
                <a:tabLst/>
                <a:defRPr/>
              </a:pP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ub-second </a:t>
              </a:r>
              <a:b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nd-to-end latency in the </a:t>
              </a: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99</a:t>
              </a:r>
              <a:r>
                <a:rPr kumimoji="0" lang="en-US" sz="1428" b="1" i="0" u="none" strike="noStrike" kern="1200" cap="none" spc="0" normalizeH="0" baseline="3000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th</a:t>
              </a: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 percentile</a:t>
              </a:r>
            </a:p>
          </p:txBody>
        </p:sp>
      </p:grpSp>
      <p:grpSp>
        <p:nvGrpSpPr>
          <p:cNvPr id="28" name="Group 27">
            <a:extLst>
              <a:ext uri="{FF2B5EF4-FFF2-40B4-BE49-F238E27FC236}">
                <a16:creationId xmlns:a16="http://schemas.microsoft.com/office/drawing/2014/main" id="{74B23CA5-53F0-4E03-AC55-393EF859B09E}"/>
              </a:ext>
            </a:extLst>
          </p:cNvPr>
          <p:cNvGrpSpPr/>
          <p:nvPr/>
        </p:nvGrpSpPr>
        <p:grpSpPr>
          <a:xfrm>
            <a:off x="7190886" y="2535513"/>
            <a:ext cx="2390039" cy="1486338"/>
            <a:chOff x="4683310" y="2876961"/>
            <a:chExt cx="3069854" cy="1581643"/>
          </a:xfrm>
        </p:grpSpPr>
        <p:sp>
          <p:nvSpPr>
            <p:cNvPr id="29" name="Freeform 50">
              <a:extLst>
                <a:ext uri="{FF2B5EF4-FFF2-40B4-BE49-F238E27FC236}">
                  <a16:creationId xmlns:a16="http://schemas.microsoft.com/office/drawing/2014/main" id="{A05A9415-3E50-47A6-9EE0-28433A725825}"/>
                </a:ext>
              </a:extLst>
            </p:cNvPr>
            <p:cNvSpPr>
              <a:spLocks/>
            </p:cNvSpPr>
            <p:nvPr/>
          </p:nvSpPr>
          <p:spPr bwMode="auto">
            <a:xfrm>
              <a:off x="4683310"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51121"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30" name="TextBox 20">
              <a:extLst>
                <a:ext uri="{FF2B5EF4-FFF2-40B4-BE49-F238E27FC236}">
                  <a16:creationId xmlns:a16="http://schemas.microsoft.com/office/drawing/2014/main" id="{C850AEF1-6AB7-4F75-93B3-D0CABD666F3A}"/>
                </a:ext>
              </a:extLst>
            </p:cNvPr>
            <p:cNvSpPr txBox="1"/>
            <p:nvPr/>
          </p:nvSpPr>
          <p:spPr>
            <a:xfrm>
              <a:off x="5013623" y="3577995"/>
              <a:ext cx="2409225" cy="744055"/>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50961" rtl="0" eaLnBrk="1" fontAlgn="auto" latinLnBrk="0" hangingPunct="1">
                <a:lnSpc>
                  <a:spcPct val="90000"/>
                </a:lnSpc>
                <a:spcBef>
                  <a:spcPts val="0"/>
                </a:spcBef>
                <a:spcAft>
                  <a:spcPts val="520"/>
                </a:spcAft>
                <a:buClrTx/>
                <a:buSzPct val="90000"/>
                <a:buFontTx/>
                <a:buNone/>
                <a:tabLst/>
                <a:defRPr/>
              </a:pP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10,000,000</a:t>
              </a: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events </a:t>
              </a:r>
              <a:b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per second per region</a:t>
              </a:r>
            </a:p>
          </p:txBody>
        </p:sp>
      </p:grpSp>
      <p:grpSp>
        <p:nvGrpSpPr>
          <p:cNvPr id="31" name="Group 30">
            <a:extLst>
              <a:ext uri="{FF2B5EF4-FFF2-40B4-BE49-F238E27FC236}">
                <a16:creationId xmlns:a16="http://schemas.microsoft.com/office/drawing/2014/main" id="{CE82F5BF-ABE6-458E-BD88-041D032CAE4A}"/>
              </a:ext>
            </a:extLst>
          </p:cNvPr>
          <p:cNvGrpSpPr/>
          <p:nvPr/>
        </p:nvGrpSpPr>
        <p:grpSpPr>
          <a:xfrm>
            <a:off x="9951025" y="2535513"/>
            <a:ext cx="2390039" cy="1486338"/>
            <a:chOff x="8646874" y="2876961"/>
            <a:chExt cx="3069854" cy="1581643"/>
          </a:xfrm>
        </p:grpSpPr>
        <p:sp>
          <p:nvSpPr>
            <p:cNvPr id="32" name="Freeform 50">
              <a:extLst>
                <a:ext uri="{FF2B5EF4-FFF2-40B4-BE49-F238E27FC236}">
                  <a16:creationId xmlns:a16="http://schemas.microsoft.com/office/drawing/2014/main" id="{591EAD41-87A5-4A9A-982A-50FB21DB6808}"/>
                </a:ext>
              </a:extLst>
            </p:cNvPr>
            <p:cNvSpPr>
              <a:spLocks/>
            </p:cNvSpPr>
            <p:nvPr/>
          </p:nvSpPr>
          <p:spPr bwMode="auto">
            <a:xfrm>
              <a:off x="8646874"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51121"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33" name="TextBox 21">
              <a:extLst>
                <a:ext uri="{FF2B5EF4-FFF2-40B4-BE49-F238E27FC236}">
                  <a16:creationId xmlns:a16="http://schemas.microsoft.com/office/drawing/2014/main" id="{9DC0069B-8588-42FC-B9C9-958B058C75B4}"/>
                </a:ext>
              </a:extLst>
            </p:cNvPr>
            <p:cNvSpPr txBox="1"/>
            <p:nvPr/>
          </p:nvSpPr>
          <p:spPr>
            <a:xfrm>
              <a:off x="8899472" y="3473958"/>
              <a:ext cx="2564659" cy="958670"/>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50961" rtl="0" eaLnBrk="1" fontAlgn="auto" latinLnBrk="0" hangingPunct="1">
                <a:lnSpc>
                  <a:spcPct val="90000"/>
                </a:lnSpc>
                <a:spcBef>
                  <a:spcPts val="0"/>
                </a:spcBef>
                <a:spcAft>
                  <a:spcPts val="520"/>
                </a:spcAft>
                <a:buClrTx/>
                <a:buSzPct val="90000"/>
                <a:buFontTx/>
                <a:buNone/>
                <a:tabLst/>
                <a:defRPr/>
              </a:pP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24-hour</a:t>
              </a: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retry with exponential back off for events not delivered</a:t>
              </a:r>
            </a:p>
          </p:txBody>
        </p:sp>
      </p:grpSp>
    </p:spTree>
    <p:extLst>
      <p:ext uri="{BB962C8B-B14F-4D97-AF65-F5344CB8AC3E}">
        <p14:creationId xmlns:p14="http://schemas.microsoft.com/office/powerpoint/2010/main" val="1513335721"/>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295730"/>
            <a:ext cx="3809457"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p>
        </p:txBody>
      </p:sp>
      <p:sp>
        <p:nvSpPr>
          <p:cNvPr id="8" name="Text Placeholder 2"/>
          <p:cNvSpPr txBox="1">
            <a:spLocks/>
          </p:cNvSpPr>
          <p:nvPr/>
        </p:nvSpPr>
        <p:spPr>
          <a:xfrm>
            <a:off x="268225" y="2405217"/>
            <a:ext cx="3686506" cy="4589307"/>
          </a:xfrm>
          <a:prstGeom prst="rect">
            <a:avLst/>
          </a:prstGeom>
        </p:spPr>
        <p:txBody>
          <a:bodyPr lIns="182750" tIns="146200" rIns="18275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Visually design workflows in the cloud</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press logic through powerful control flow</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functions and APIs</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Utilize declarative definition to work with CI/CD</a:t>
            </a: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315598" y="4612965"/>
            <a:ext cx="219956" cy="17381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 name="Picture 9">
            <a:extLst>
              <a:ext uri="{FF2B5EF4-FFF2-40B4-BE49-F238E27FC236}">
                <a16:creationId xmlns:a16="http://schemas.microsoft.com/office/drawing/2014/main" id="{6F17BFEF-EB92-4B97-9B47-41CF60027DAA}"/>
              </a:ext>
            </a:extLst>
          </p:cNvPr>
          <p:cNvPicPr>
            <a:picLocks noChangeAspect="1"/>
          </p:cNvPicPr>
          <p:nvPr/>
        </p:nvPicPr>
        <p:blipFill>
          <a:blip r:embed="rId3"/>
          <a:stretch>
            <a:fillRect/>
          </a:stretch>
        </p:blipFill>
        <p:spPr>
          <a:xfrm>
            <a:off x="4391764" y="499507"/>
            <a:ext cx="8382792" cy="5995511"/>
          </a:xfrm>
          <a:prstGeom prst="rect">
            <a:avLst/>
          </a:prstGeom>
        </p:spPr>
      </p:pic>
    </p:spTree>
    <p:extLst>
      <p:ext uri="{BB962C8B-B14F-4D97-AF65-F5344CB8AC3E}">
        <p14:creationId xmlns:p14="http://schemas.microsoft.com/office/powerpoint/2010/main" val="3172356123"/>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84" y="500"/>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itle 1"/>
          <p:cNvSpPr txBox="1">
            <a:spLocks/>
          </p:cNvSpPr>
          <p:nvPr/>
        </p:nvSpPr>
        <p:spPr>
          <a:xfrm>
            <a:off x="275482" y="500"/>
            <a:ext cx="3657080" cy="6993533"/>
          </a:xfrm>
          <a:prstGeom prst="rect">
            <a:avLst/>
          </a:prstGeom>
        </p:spPr>
        <p:txBody>
          <a:bodyPr vert="horz" wrap="square" lIns="149217" tIns="93260" rIns="149217" bIns="9326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ogic Apps connectors—Over 200 and growing</a:t>
            </a:r>
            <a:endParaRPr kumimoji="0" lang="en-NZ" sz="47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grpSp>
        <p:nvGrpSpPr>
          <p:cNvPr id="11" name="Group 10"/>
          <p:cNvGrpSpPr/>
          <p:nvPr/>
        </p:nvGrpSpPr>
        <p:grpSpPr>
          <a:xfrm>
            <a:off x="4562874" y="440076"/>
            <a:ext cx="7129245" cy="1265445"/>
            <a:chOff x="4472948" y="431483"/>
            <a:chExt cx="6990090" cy="1240745"/>
          </a:xfrm>
        </p:grpSpPr>
        <p:pic>
          <p:nvPicPr>
            <p:cNvPr id="1028" name="Picture 4" descr="Image result for github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03037" y="758818"/>
              <a:ext cx="2260001" cy="75156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upload.wikimedia.org/wikipedia/commons/thumb/4/47/Dropbox_logo_%28September_2013%29.svg/2000px-Dropbox_logo_%28September_2013%29.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72948" y="431483"/>
              <a:ext cx="3252192" cy="124074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pinterest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99805" y="562137"/>
              <a:ext cx="979436" cy="9794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4904359" y="3898855"/>
            <a:ext cx="6996006" cy="1323387"/>
            <a:chOff x="4950923" y="3490665"/>
            <a:chExt cx="6859452" cy="1297556"/>
          </a:xfrm>
        </p:grpSpPr>
        <p:pic>
          <p:nvPicPr>
            <p:cNvPr id="1032" name="Picture 8" descr="Image result for slack logo 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93705" y="4001011"/>
              <a:ext cx="1910071" cy="54697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wordpress logo 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50923" y="3490665"/>
              <a:ext cx="1964984" cy="122073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salesforce logo 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81575" y="3507423"/>
              <a:ext cx="1828800" cy="12807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4706319" y="2163631"/>
            <a:ext cx="7498216" cy="1250148"/>
            <a:chOff x="4711625" y="1818974"/>
            <a:chExt cx="7351860" cy="1225747"/>
          </a:xfrm>
        </p:grpSpPr>
        <p:pic>
          <p:nvPicPr>
            <p:cNvPr id="1026" name="Picture 2" descr="Image result for facebook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1625" y="2159592"/>
              <a:ext cx="2590991" cy="5445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twitter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203037" y="1818974"/>
              <a:ext cx="2860448" cy="1225747"/>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box logo  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785792" y="2015229"/>
              <a:ext cx="1378492" cy="760594"/>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p:cNvSpPr txBox="1"/>
          <p:nvPr/>
        </p:nvSpPr>
        <p:spPr>
          <a:xfrm>
            <a:off x="6206027" y="5813641"/>
            <a:ext cx="4718235" cy="820073"/>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3672" b="0" i="0" u="none" strike="noStrike" kern="1200" cap="none" spc="0" normalizeH="0" baseline="0" noProof="0">
                <a:ln>
                  <a:noFill/>
                </a:ln>
                <a:solidFill>
                  <a:srgbClr val="0078D7"/>
                </a:solidFill>
                <a:effectLst/>
                <a:uLnTx/>
                <a:uFillTx/>
                <a:latin typeface="Segoe UI Semilight"/>
                <a:ea typeface="+mn-ea"/>
                <a:cs typeface="+mn-cs"/>
              </a:rPr>
              <a:t>….and more!</a:t>
            </a:r>
          </a:p>
        </p:txBody>
      </p:sp>
      <p:sp>
        <p:nvSpPr>
          <p:cNvPr id="2" name="Rectangle 1">
            <a:extLst>
              <a:ext uri="{FF2B5EF4-FFF2-40B4-BE49-F238E27FC236}">
                <a16:creationId xmlns:a16="http://schemas.microsoft.com/office/drawing/2014/main" id="{E25BDC9B-2F0C-425C-8FA2-27F44428662B}"/>
              </a:ext>
            </a:extLst>
          </p:cNvPr>
          <p:cNvSpPr/>
          <p:nvPr/>
        </p:nvSpPr>
        <p:spPr>
          <a:xfrm>
            <a:off x="6096249" y="3309840"/>
            <a:ext cx="243978" cy="374846"/>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3635237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nodeType="withEffect">
                                  <p:stCondLst>
                                    <p:cond delay="0"/>
                                  </p:stCondLst>
                                  <p:childTnLst>
                                    <p:animMotion origin="layout" path="M 2.25428E-6 0.04607 L 2.25428E-6 2.41943E-6 " pathEditMode="relative" rAng="0" ptsTypes="AA">
                                      <p:cBhvr>
                                        <p:cTn id="9" dur="1000" fill="hold"/>
                                        <p:tgtEl>
                                          <p:spTgt spid="11"/>
                                        </p:tgtEl>
                                        <p:attrNameLst>
                                          <p:attrName>ppt_x</p:attrName>
                                          <p:attrName>ppt_y</p:attrName>
                                        </p:attrNameLst>
                                      </p:cBhvr>
                                      <p:rCtr x="0" y="-2315"/>
                                    </p:animMotion>
                                  </p:childTnLst>
                                </p:cTn>
                              </p:par>
                              <p:par>
                                <p:cTn id="10" presetID="10" presetClass="entr" presetSubtype="0" fill="hold" nodeType="withEffect">
                                  <p:stCondLst>
                                    <p:cond delay="60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nodeType="withEffect">
                                  <p:stCondLst>
                                    <p:cond delay="100"/>
                                  </p:stCondLst>
                                  <p:childTnLst>
                                    <p:animMotion origin="layout" path="M 2.25428E-6 0.04607 L 2.25428E-6 2.41943E-6 " pathEditMode="relative" rAng="0" ptsTypes="AA">
                                      <p:cBhvr>
                                        <p:cTn id="14" dur="1000" fill="hold"/>
                                        <p:tgtEl>
                                          <p:spTgt spid="12"/>
                                        </p:tgtEl>
                                        <p:attrNameLst>
                                          <p:attrName>ppt_x</p:attrName>
                                          <p:attrName>ppt_y</p:attrName>
                                        </p:attrNameLst>
                                      </p:cBhvr>
                                      <p:rCtr x="0" y="-2315"/>
                                    </p:animMotion>
                                  </p:childTnLst>
                                </p:cTn>
                              </p:par>
                              <p:par>
                                <p:cTn id="15" presetID="10" presetClass="entr" presetSubtype="0" fill="hold" nodeType="withEffect">
                                  <p:stCondLst>
                                    <p:cond delay="7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nodeType="withEffect">
                                  <p:stCondLst>
                                    <p:cond delay="200"/>
                                  </p:stCondLst>
                                  <p:childTnLst>
                                    <p:animMotion origin="layout" path="M 2.25428E-6 0.04607 L 2.25428E-6 2.41943E-6 " pathEditMode="relative" rAng="0" ptsTypes="AA">
                                      <p:cBhvr>
                                        <p:cTn id="19" dur="1000" fill="hold"/>
                                        <p:tgtEl>
                                          <p:spTgt spid="10"/>
                                        </p:tgtEl>
                                        <p:attrNameLst>
                                          <p:attrName>ppt_x</p:attrName>
                                          <p:attrName>ppt_y</p:attrName>
                                        </p:attrNameLst>
                                      </p:cBhvr>
                                      <p:rCtr x="0" y="-2315"/>
                                    </p:animMotion>
                                  </p:childTnLst>
                                </p:cTn>
                              </p:par>
                              <p:par>
                                <p:cTn id="20" presetID="10" presetClass="entr" presetSubtype="0" fill="hold" grpId="0" nodeType="withEffect">
                                  <p:stCondLst>
                                    <p:cond delay="8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42" presetClass="path" presetSubtype="0" decel="100000" fill="hold" grpId="1" nodeType="withEffect">
                                  <p:stCondLst>
                                    <p:cond delay="300"/>
                                  </p:stCondLst>
                                  <p:childTnLst>
                                    <p:animMotion origin="layout" path="M -1.875E-6 -0.04491 L -1.875E-6 -3.7037E-7 " pathEditMode="relative" rAng="0" ptsTypes="AA">
                                      <p:cBhvr>
                                        <p:cTn id="24" dur="1000" fill="hold"/>
                                        <p:tgtEl>
                                          <p:spTgt spid="13"/>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295730"/>
            <a:ext cx="3809457"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Cosmos DB</a:t>
            </a:r>
          </a:p>
        </p:txBody>
      </p:sp>
      <p:sp>
        <p:nvSpPr>
          <p:cNvPr id="8" name="Text Placeholder 2"/>
          <p:cNvSpPr txBox="1">
            <a:spLocks/>
          </p:cNvSpPr>
          <p:nvPr/>
        </p:nvSpPr>
        <p:spPr>
          <a:xfrm>
            <a:off x="275484" y="1780526"/>
            <a:ext cx="3916270" cy="4589307"/>
          </a:xfrm>
          <a:prstGeom prst="rect">
            <a:avLst/>
          </a:prstGeom>
        </p:spPr>
        <p:txBody>
          <a:bodyPr lIns="182750" tIns="146200" rIns="18275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Turnkey global distribution</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lastic scale out of storage &amp; throughput</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Guaranteed low latency at the 99th percentile</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Five well-defined consistency models</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mprehensive SLAs</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endPar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315598" y="4612965"/>
            <a:ext cx="219956" cy="17381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 name="Group 11">
            <a:extLst>
              <a:ext uri="{FF2B5EF4-FFF2-40B4-BE49-F238E27FC236}">
                <a16:creationId xmlns:a16="http://schemas.microsoft.com/office/drawing/2014/main" id="{B11371DC-5B2C-4D00-9949-4A94491A04AD}"/>
              </a:ext>
            </a:extLst>
          </p:cNvPr>
          <p:cNvGrpSpPr/>
          <p:nvPr/>
        </p:nvGrpSpPr>
        <p:grpSpPr>
          <a:xfrm>
            <a:off x="2162950" y="238238"/>
            <a:ext cx="13546047" cy="13239523"/>
            <a:chOff x="2162950" y="238238"/>
            <a:chExt cx="13546047" cy="13239523"/>
          </a:xfrm>
        </p:grpSpPr>
        <p:sp>
          <p:nvSpPr>
            <p:cNvPr id="13" name="Oval 12">
              <a:extLst>
                <a:ext uri="{FF2B5EF4-FFF2-40B4-BE49-F238E27FC236}">
                  <a16:creationId xmlns:a16="http://schemas.microsoft.com/office/drawing/2014/main" id="{24B26BDF-3F11-4A3D-9CBD-4A21571C1C2C}"/>
                </a:ext>
              </a:extLst>
            </p:cNvPr>
            <p:cNvSpPr/>
            <p:nvPr/>
          </p:nvSpPr>
          <p:spPr bwMode="auto">
            <a:xfrm>
              <a:off x="3495662" y="1372912"/>
              <a:ext cx="10880624" cy="10634414"/>
            </a:xfrm>
            <a:prstGeom prst="ellipse">
              <a:avLst/>
            </a:prstGeom>
            <a:noFill/>
            <a:ln>
              <a:solidFill>
                <a:schemeClr val="tx2">
                  <a:alpha val="1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a:extLst>
                <a:ext uri="{FF2B5EF4-FFF2-40B4-BE49-F238E27FC236}">
                  <a16:creationId xmlns:a16="http://schemas.microsoft.com/office/drawing/2014/main" id="{2D11E40C-2CE8-48AC-9EBD-9A5F67EDCFB5}"/>
                </a:ext>
              </a:extLst>
            </p:cNvPr>
            <p:cNvSpPr/>
            <p:nvPr/>
          </p:nvSpPr>
          <p:spPr bwMode="auto">
            <a:xfrm>
              <a:off x="2162950" y="238238"/>
              <a:ext cx="13546047" cy="13239523"/>
            </a:xfrm>
            <a:prstGeom prst="ellipse">
              <a:avLst/>
            </a:prstGeom>
            <a:noFill/>
            <a:ln>
              <a:solidFill>
                <a:schemeClr val="tx2">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23F22BC8-8A31-4032-A927-A86025463861}"/>
              </a:ext>
            </a:extLst>
          </p:cNvPr>
          <p:cNvGrpSpPr/>
          <p:nvPr/>
        </p:nvGrpSpPr>
        <p:grpSpPr>
          <a:xfrm>
            <a:off x="4811776" y="2633472"/>
            <a:ext cx="8301135" cy="8113295"/>
            <a:chOff x="4811776" y="2633472"/>
            <a:chExt cx="8301135" cy="8113295"/>
          </a:xfrm>
        </p:grpSpPr>
        <p:grpSp>
          <p:nvGrpSpPr>
            <p:cNvPr id="16" name="Group 15">
              <a:extLst>
                <a:ext uri="{FF2B5EF4-FFF2-40B4-BE49-F238E27FC236}">
                  <a16:creationId xmlns:a16="http://schemas.microsoft.com/office/drawing/2014/main" id="{6656AEDA-42EE-4B16-975F-E063DEDE039B}"/>
                </a:ext>
              </a:extLst>
            </p:cNvPr>
            <p:cNvGrpSpPr/>
            <p:nvPr/>
          </p:nvGrpSpPr>
          <p:grpSpPr>
            <a:xfrm>
              <a:off x="6186300" y="3112854"/>
              <a:ext cx="5465771" cy="3281011"/>
              <a:chOff x="621668" y="4852307"/>
              <a:chExt cx="2840157" cy="1396093"/>
            </a:xfrm>
            <a:solidFill>
              <a:schemeClr val="tx1">
                <a:lumMod val="20000"/>
                <a:lumOff val="80000"/>
              </a:schemeClr>
            </a:solidFill>
          </p:grpSpPr>
          <p:sp>
            <p:nvSpPr>
              <p:cNvPr id="18" name="Freeform 7">
                <a:extLst>
                  <a:ext uri="{FF2B5EF4-FFF2-40B4-BE49-F238E27FC236}">
                    <a16:creationId xmlns:a16="http://schemas.microsoft.com/office/drawing/2014/main" id="{6CB0DFD0-B84C-49C4-B3C7-CBC5843B5257}"/>
                  </a:ext>
                </a:extLst>
              </p:cNvPr>
              <p:cNvSpPr>
                <a:spLocks noEditPoints="1"/>
              </p:cNvSpPr>
              <p:nvPr/>
            </p:nvSpPr>
            <p:spPr bwMode="auto">
              <a:xfrm>
                <a:off x="621668" y="4852307"/>
                <a:ext cx="1295951" cy="1396093"/>
              </a:xfrm>
              <a:custGeom>
                <a:avLst/>
                <a:gdLst>
                  <a:gd name="T0" fmla="*/ 556 w 954"/>
                  <a:gd name="T1" fmla="*/ 1009 h 1027"/>
                  <a:gd name="T2" fmla="*/ 506 w 954"/>
                  <a:gd name="T3" fmla="*/ 919 h 1027"/>
                  <a:gd name="T4" fmla="*/ 400 w 954"/>
                  <a:gd name="T5" fmla="*/ 627 h 1027"/>
                  <a:gd name="T6" fmla="*/ 429 w 954"/>
                  <a:gd name="T7" fmla="*/ 554 h 1027"/>
                  <a:gd name="T8" fmla="*/ 370 w 954"/>
                  <a:gd name="T9" fmla="*/ 503 h 1027"/>
                  <a:gd name="T10" fmla="*/ 311 w 954"/>
                  <a:gd name="T11" fmla="*/ 488 h 1027"/>
                  <a:gd name="T12" fmla="*/ 247 w 954"/>
                  <a:gd name="T13" fmla="*/ 410 h 1027"/>
                  <a:gd name="T14" fmla="*/ 242 w 954"/>
                  <a:gd name="T15" fmla="*/ 428 h 1027"/>
                  <a:gd name="T16" fmla="*/ 181 w 954"/>
                  <a:gd name="T17" fmla="*/ 348 h 1027"/>
                  <a:gd name="T18" fmla="*/ 202 w 954"/>
                  <a:gd name="T19" fmla="*/ 236 h 1027"/>
                  <a:gd name="T20" fmla="*/ 150 w 954"/>
                  <a:gd name="T21" fmla="*/ 164 h 1027"/>
                  <a:gd name="T22" fmla="*/ 71 w 954"/>
                  <a:gd name="T23" fmla="*/ 196 h 1027"/>
                  <a:gd name="T24" fmla="*/ 75 w 954"/>
                  <a:gd name="T25" fmla="*/ 164 h 1027"/>
                  <a:gd name="T26" fmla="*/ 73 w 954"/>
                  <a:gd name="T27" fmla="*/ 142 h 1027"/>
                  <a:gd name="T28" fmla="*/ 100 w 954"/>
                  <a:gd name="T29" fmla="*/ 112 h 1027"/>
                  <a:gd name="T30" fmla="*/ 213 w 954"/>
                  <a:gd name="T31" fmla="*/ 65 h 1027"/>
                  <a:gd name="T32" fmla="*/ 379 w 954"/>
                  <a:gd name="T33" fmla="*/ 79 h 1027"/>
                  <a:gd name="T34" fmla="*/ 502 w 954"/>
                  <a:gd name="T35" fmla="*/ 48 h 1027"/>
                  <a:gd name="T36" fmla="*/ 553 w 954"/>
                  <a:gd name="T37" fmla="*/ 71 h 1027"/>
                  <a:gd name="T38" fmla="*/ 603 w 954"/>
                  <a:gd name="T39" fmla="*/ 27 h 1027"/>
                  <a:gd name="T40" fmla="*/ 663 w 954"/>
                  <a:gd name="T41" fmla="*/ 0 h 1027"/>
                  <a:gd name="T42" fmla="*/ 819 w 954"/>
                  <a:gd name="T43" fmla="*/ 0 h 1027"/>
                  <a:gd name="T44" fmla="*/ 948 w 954"/>
                  <a:gd name="T45" fmla="*/ 12 h 1027"/>
                  <a:gd name="T46" fmla="*/ 892 w 954"/>
                  <a:gd name="T47" fmla="*/ 73 h 1027"/>
                  <a:gd name="T48" fmla="*/ 870 w 954"/>
                  <a:gd name="T49" fmla="*/ 104 h 1027"/>
                  <a:gd name="T50" fmla="*/ 737 w 954"/>
                  <a:gd name="T51" fmla="*/ 155 h 1027"/>
                  <a:gd name="T52" fmla="*/ 729 w 954"/>
                  <a:gd name="T53" fmla="*/ 80 h 1027"/>
                  <a:gd name="T54" fmla="*/ 640 w 954"/>
                  <a:gd name="T55" fmla="*/ 59 h 1027"/>
                  <a:gd name="T56" fmla="*/ 665 w 954"/>
                  <a:gd name="T57" fmla="*/ 121 h 1027"/>
                  <a:gd name="T58" fmla="*/ 612 w 954"/>
                  <a:gd name="T59" fmla="*/ 129 h 1027"/>
                  <a:gd name="T60" fmla="*/ 589 w 954"/>
                  <a:gd name="T61" fmla="*/ 107 h 1027"/>
                  <a:gd name="T62" fmla="*/ 502 w 954"/>
                  <a:gd name="T63" fmla="*/ 137 h 1027"/>
                  <a:gd name="T64" fmla="*/ 517 w 954"/>
                  <a:gd name="T65" fmla="*/ 180 h 1027"/>
                  <a:gd name="T66" fmla="*/ 599 w 954"/>
                  <a:gd name="T67" fmla="*/ 136 h 1027"/>
                  <a:gd name="T68" fmla="*/ 662 w 954"/>
                  <a:gd name="T69" fmla="*/ 201 h 1027"/>
                  <a:gd name="T70" fmla="*/ 602 w 954"/>
                  <a:gd name="T71" fmla="*/ 223 h 1027"/>
                  <a:gd name="T72" fmla="*/ 606 w 954"/>
                  <a:gd name="T73" fmla="*/ 263 h 1027"/>
                  <a:gd name="T74" fmla="*/ 495 w 954"/>
                  <a:gd name="T75" fmla="*/ 333 h 1027"/>
                  <a:gd name="T76" fmla="*/ 441 w 954"/>
                  <a:gd name="T77" fmla="*/ 410 h 1027"/>
                  <a:gd name="T78" fmla="*/ 343 w 954"/>
                  <a:gd name="T79" fmla="*/ 394 h 1027"/>
                  <a:gd name="T80" fmla="*/ 366 w 954"/>
                  <a:gd name="T81" fmla="*/ 433 h 1027"/>
                  <a:gd name="T82" fmla="*/ 388 w 954"/>
                  <a:gd name="T83" fmla="*/ 473 h 1027"/>
                  <a:gd name="T84" fmla="*/ 436 w 954"/>
                  <a:gd name="T85" fmla="*/ 517 h 1027"/>
                  <a:gd name="T86" fmla="*/ 560 w 954"/>
                  <a:gd name="T87" fmla="*/ 502 h 1027"/>
                  <a:gd name="T88" fmla="*/ 723 w 954"/>
                  <a:gd name="T89" fmla="*/ 619 h 1027"/>
                  <a:gd name="T90" fmla="*/ 708 w 954"/>
                  <a:gd name="T91" fmla="*/ 765 h 1027"/>
                  <a:gd name="T92" fmla="*/ 618 w 954"/>
                  <a:gd name="T93" fmla="*/ 1009 h 1027"/>
                  <a:gd name="T94" fmla="*/ 398 w 954"/>
                  <a:gd name="T95" fmla="*/ 514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1027">
                    <a:moveTo>
                      <a:pt x="611" y="1027"/>
                    </a:moveTo>
                    <a:cubicBezTo>
                      <a:pt x="610" y="1027"/>
                      <a:pt x="609" y="1027"/>
                      <a:pt x="608" y="1026"/>
                    </a:cubicBezTo>
                    <a:cubicBezTo>
                      <a:pt x="561" y="1012"/>
                      <a:pt x="561" y="1012"/>
                      <a:pt x="561" y="1012"/>
                    </a:cubicBezTo>
                    <a:cubicBezTo>
                      <a:pt x="559" y="1011"/>
                      <a:pt x="557" y="1010"/>
                      <a:pt x="556" y="1009"/>
                    </a:cubicBezTo>
                    <a:cubicBezTo>
                      <a:pt x="528" y="978"/>
                      <a:pt x="528" y="978"/>
                      <a:pt x="528" y="978"/>
                    </a:cubicBezTo>
                    <a:cubicBezTo>
                      <a:pt x="527" y="977"/>
                      <a:pt x="527" y="976"/>
                      <a:pt x="526" y="974"/>
                    </a:cubicBezTo>
                    <a:cubicBezTo>
                      <a:pt x="507" y="922"/>
                      <a:pt x="507" y="922"/>
                      <a:pt x="507" y="922"/>
                    </a:cubicBezTo>
                    <a:cubicBezTo>
                      <a:pt x="507" y="921"/>
                      <a:pt x="507" y="920"/>
                      <a:pt x="506" y="919"/>
                    </a:cubicBezTo>
                    <a:cubicBezTo>
                      <a:pt x="496" y="753"/>
                      <a:pt x="496" y="753"/>
                      <a:pt x="496" y="753"/>
                    </a:cubicBezTo>
                    <a:cubicBezTo>
                      <a:pt x="450" y="720"/>
                      <a:pt x="450" y="720"/>
                      <a:pt x="450" y="720"/>
                    </a:cubicBezTo>
                    <a:cubicBezTo>
                      <a:pt x="449" y="719"/>
                      <a:pt x="448" y="718"/>
                      <a:pt x="448" y="716"/>
                    </a:cubicBezTo>
                    <a:cubicBezTo>
                      <a:pt x="400" y="627"/>
                      <a:pt x="400" y="627"/>
                      <a:pt x="400" y="627"/>
                    </a:cubicBezTo>
                    <a:cubicBezTo>
                      <a:pt x="398" y="624"/>
                      <a:pt x="398" y="620"/>
                      <a:pt x="400" y="617"/>
                    </a:cubicBezTo>
                    <a:cubicBezTo>
                      <a:pt x="431" y="560"/>
                      <a:pt x="431" y="560"/>
                      <a:pt x="431" y="560"/>
                    </a:cubicBezTo>
                    <a:cubicBezTo>
                      <a:pt x="430" y="553"/>
                      <a:pt x="430" y="553"/>
                      <a:pt x="430" y="553"/>
                    </a:cubicBezTo>
                    <a:cubicBezTo>
                      <a:pt x="429" y="554"/>
                      <a:pt x="429" y="554"/>
                      <a:pt x="429" y="554"/>
                    </a:cubicBezTo>
                    <a:cubicBezTo>
                      <a:pt x="426" y="555"/>
                      <a:pt x="424" y="554"/>
                      <a:pt x="421" y="553"/>
                    </a:cubicBezTo>
                    <a:cubicBezTo>
                      <a:pt x="389" y="537"/>
                      <a:pt x="389" y="537"/>
                      <a:pt x="389" y="537"/>
                    </a:cubicBezTo>
                    <a:cubicBezTo>
                      <a:pt x="387" y="536"/>
                      <a:pt x="385" y="534"/>
                      <a:pt x="384" y="532"/>
                    </a:cubicBezTo>
                    <a:cubicBezTo>
                      <a:pt x="370" y="503"/>
                      <a:pt x="370" y="503"/>
                      <a:pt x="370" y="503"/>
                    </a:cubicBezTo>
                    <a:cubicBezTo>
                      <a:pt x="348" y="500"/>
                      <a:pt x="348" y="500"/>
                      <a:pt x="348" y="500"/>
                    </a:cubicBezTo>
                    <a:cubicBezTo>
                      <a:pt x="346" y="500"/>
                      <a:pt x="345" y="499"/>
                      <a:pt x="344" y="498"/>
                    </a:cubicBezTo>
                    <a:cubicBezTo>
                      <a:pt x="323" y="485"/>
                      <a:pt x="323" y="485"/>
                      <a:pt x="323" y="485"/>
                    </a:cubicBezTo>
                    <a:cubicBezTo>
                      <a:pt x="311" y="488"/>
                      <a:pt x="311" y="488"/>
                      <a:pt x="311" y="488"/>
                    </a:cubicBezTo>
                    <a:cubicBezTo>
                      <a:pt x="309" y="489"/>
                      <a:pt x="306" y="488"/>
                      <a:pt x="304" y="487"/>
                    </a:cubicBezTo>
                    <a:cubicBezTo>
                      <a:pt x="254" y="461"/>
                      <a:pt x="254" y="461"/>
                      <a:pt x="254" y="461"/>
                    </a:cubicBezTo>
                    <a:cubicBezTo>
                      <a:pt x="250" y="459"/>
                      <a:pt x="248" y="456"/>
                      <a:pt x="248" y="452"/>
                    </a:cubicBezTo>
                    <a:cubicBezTo>
                      <a:pt x="247" y="410"/>
                      <a:pt x="247" y="410"/>
                      <a:pt x="247" y="410"/>
                    </a:cubicBezTo>
                    <a:cubicBezTo>
                      <a:pt x="230" y="366"/>
                      <a:pt x="230" y="366"/>
                      <a:pt x="230" y="366"/>
                    </a:cubicBezTo>
                    <a:cubicBezTo>
                      <a:pt x="223" y="368"/>
                      <a:pt x="223" y="368"/>
                      <a:pt x="223" y="368"/>
                    </a:cubicBezTo>
                    <a:cubicBezTo>
                      <a:pt x="242" y="424"/>
                      <a:pt x="242" y="424"/>
                      <a:pt x="242" y="424"/>
                    </a:cubicBezTo>
                    <a:cubicBezTo>
                      <a:pt x="242" y="425"/>
                      <a:pt x="242" y="427"/>
                      <a:pt x="242" y="428"/>
                    </a:cubicBezTo>
                    <a:cubicBezTo>
                      <a:pt x="242" y="434"/>
                      <a:pt x="238" y="438"/>
                      <a:pt x="232" y="438"/>
                    </a:cubicBezTo>
                    <a:cubicBezTo>
                      <a:pt x="228" y="439"/>
                      <a:pt x="224" y="436"/>
                      <a:pt x="223" y="432"/>
                    </a:cubicBezTo>
                    <a:cubicBezTo>
                      <a:pt x="204" y="390"/>
                      <a:pt x="204" y="390"/>
                      <a:pt x="204" y="390"/>
                    </a:cubicBezTo>
                    <a:cubicBezTo>
                      <a:pt x="181" y="348"/>
                      <a:pt x="181" y="348"/>
                      <a:pt x="181" y="348"/>
                    </a:cubicBezTo>
                    <a:cubicBezTo>
                      <a:pt x="180" y="347"/>
                      <a:pt x="180" y="346"/>
                      <a:pt x="179" y="344"/>
                    </a:cubicBezTo>
                    <a:cubicBezTo>
                      <a:pt x="172" y="292"/>
                      <a:pt x="172" y="292"/>
                      <a:pt x="172" y="292"/>
                    </a:cubicBezTo>
                    <a:cubicBezTo>
                      <a:pt x="172" y="289"/>
                      <a:pt x="172" y="287"/>
                      <a:pt x="173" y="285"/>
                    </a:cubicBezTo>
                    <a:cubicBezTo>
                      <a:pt x="202" y="236"/>
                      <a:pt x="202" y="236"/>
                      <a:pt x="202" y="236"/>
                    </a:cubicBezTo>
                    <a:cubicBezTo>
                      <a:pt x="216" y="194"/>
                      <a:pt x="216" y="194"/>
                      <a:pt x="216" y="194"/>
                    </a:cubicBezTo>
                    <a:cubicBezTo>
                      <a:pt x="214" y="173"/>
                      <a:pt x="214" y="173"/>
                      <a:pt x="214" y="173"/>
                    </a:cubicBezTo>
                    <a:cubicBezTo>
                      <a:pt x="178" y="159"/>
                      <a:pt x="178" y="159"/>
                      <a:pt x="178" y="159"/>
                    </a:cubicBezTo>
                    <a:cubicBezTo>
                      <a:pt x="150" y="164"/>
                      <a:pt x="150" y="164"/>
                      <a:pt x="150" y="164"/>
                    </a:cubicBezTo>
                    <a:cubicBezTo>
                      <a:pt x="107" y="184"/>
                      <a:pt x="107" y="184"/>
                      <a:pt x="107" y="184"/>
                    </a:cubicBezTo>
                    <a:cubicBezTo>
                      <a:pt x="106" y="184"/>
                      <a:pt x="106" y="184"/>
                      <a:pt x="106" y="184"/>
                    </a:cubicBezTo>
                    <a:cubicBezTo>
                      <a:pt x="74" y="196"/>
                      <a:pt x="74" y="196"/>
                      <a:pt x="74" y="196"/>
                    </a:cubicBezTo>
                    <a:cubicBezTo>
                      <a:pt x="73" y="196"/>
                      <a:pt x="72" y="196"/>
                      <a:pt x="71" y="196"/>
                    </a:cubicBezTo>
                    <a:cubicBezTo>
                      <a:pt x="11" y="198"/>
                      <a:pt x="11" y="198"/>
                      <a:pt x="11" y="198"/>
                    </a:cubicBezTo>
                    <a:cubicBezTo>
                      <a:pt x="6" y="198"/>
                      <a:pt x="1" y="194"/>
                      <a:pt x="0" y="189"/>
                    </a:cubicBezTo>
                    <a:cubicBezTo>
                      <a:pt x="0" y="183"/>
                      <a:pt x="3" y="179"/>
                      <a:pt x="8" y="177"/>
                    </a:cubicBezTo>
                    <a:cubicBezTo>
                      <a:pt x="75" y="164"/>
                      <a:pt x="75" y="164"/>
                      <a:pt x="75" y="164"/>
                    </a:cubicBezTo>
                    <a:cubicBezTo>
                      <a:pt x="78" y="160"/>
                      <a:pt x="78" y="160"/>
                      <a:pt x="78" y="160"/>
                    </a:cubicBezTo>
                    <a:cubicBezTo>
                      <a:pt x="76" y="158"/>
                      <a:pt x="76" y="158"/>
                      <a:pt x="76" y="158"/>
                    </a:cubicBezTo>
                    <a:cubicBezTo>
                      <a:pt x="73" y="156"/>
                      <a:pt x="71" y="154"/>
                      <a:pt x="71" y="151"/>
                    </a:cubicBezTo>
                    <a:cubicBezTo>
                      <a:pt x="70" y="148"/>
                      <a:pt x="71" y="145"/>
                      <a:pt x="73" y="142"/>
                    </a:cubicBezTo>
                    <a:cubicBezTo>
                      <a:pt x="94" y="120"/>
                      <a:pt x="94" y="120"/>
                      <a:pt x="94" y="120"/>
                    </a:cubicBezTo>
                    <a:cubicBezTo>
                      <a:pt x="95" y="119"/>
                      <a:pt x="97" y="118"/>
                      <a:pt x="99" y="117"/>
                    </a:cubicBezTo>
                    <a:cubicBezTo>
                      <a:pt x="101" y="117"/>
                      <a:pt x="101" y="117"/>
                      <a:pt x="101" y="117"/>
                    </a:cubicBezTo>
                    <a:cubicBezTo>
                      <a:pt x="100" y="116"/>
                      <a:pt x="100" y="114"/>
                      <a:pt x="100" y="112"/>
                    </a:cubicBezTo>
                    <a:cubicBezTo>
                      <a:pt x="100" y="109"/>
                      <a:pt x="102" y="106"/>
                      <a:pt x="105" y="104"/>
                    </a:cubicBezTo>
                    <a:cubicBezTo>
                      <a:pt x="137" y="85"/>
                      <a:pt x="137" y="85"/>
                      <a:pt x="137" y="85"/>
                    </a:cubicBezTo>
                    <a:cubicBezTo>
                      <a:pt x="138" y="84"/>
                      <a:pt x="139" y="84"/>
                      <a:pt x="140" y="84"/>
                    </a:cubicBezTo>
                    <a:cubicBezTo>
                      <a:pt x="213" y="65"/>
                      <a:pt x="213" y="65"/>
                      <a:pt x="213" y="65"/>
                    </a:cubicBezTo>
                    <a:cubicBezTo>
                      <a:pt x="215" y="64"/>
                      <a:pt x="216" y="64"/>
                      <a:pt x="217" y="64"/>
                    </a:cubicBezTo>
                    <a:cubicBezTo>
                      <a:pt x="309" y="76"/>
                      <a:pt x="309" y="76"/>
                      <a:pt x="309" y="76"/>
                    </a:cubicBezTo>
                    <a:cubicBezTo>
                      <a:pt x="380" y="82"/>
                      <a:pt x="380" y="82"/>
                      <a:pt x="380" y="82"/>
                    </a:cubicBezTo>
                    <a:cubicBezTo>
                      <a:pt x="379" y="79"/>
                      <a:pt x="379" y="79"/>
                      <a:pt x="379" y="79"/>
                    </a:cubicBezTo>
                    <a:cubicBezTo>
                      <a:pt x="377" y="77"/>
                      <a:pt x="377" y="74"/>
                      <a:pt x="378" y="71"/>
                    </a:cubicBezTo>
                    <a:cubicBezTo>
                      <a:pt x="379" y="69"/>
                      <a:pt x="381" y="66"/>
                      <a:pt x="383" y="65"/>
                    </a:cubicBezTo>
                    <a:cubicBezTo>
                      <a:pt x="393" y="61"/>
                      <a:pt x="423" y="48"/>
                      <a:pt x="436" y="48"/>
                    </a:cubicBezTo>
                    <a:cubicBezTo>
                      <a:pt x="502" y="48"/>
                      <a:pt x="502" y="48"/>
                      <a:pt x="502" y="48"/>
                    </a:cubicBezTo>
                    <a:cubicBezTo>
                      <a:pt x="510" y="48"/>
                      <a:pt x="529" y="53"/>
                      <a:pt x="533" y="54"/>
                    </a:cubicBezTo>
                    <a:cubicBezTo>
                      <a:pt x="536" y="55"/>
                      <a:pt x="538" y="57"/>
                      <a:pt x="539" y="60"/>
                    </a:cubicBezTo>
                    <a:cubicBezTo>
                      <a:pt x="540" y="61"/>
                      <a:pt x="543" y="68"/>
                      <a:pt x="545" y="75"/>
                    </a:cubicBezTo>
                    <a:cubicBezTo>
                      <a:pt x="548" y="74"/>
                      <a:pt x="550" y="72"/>
                      <a:pt x="553" y="71"/>
                    </a:cubicBezTo>
                    <a:cubicBezTo>
                      <a:pt x="580" y="44"/>
                      <a:pt x="580" y="44"/>
                      <a:pt x="580" y="44"/>
                    </a:cubicBezTo>
                    <a:cubicBezTo>
                      <a:pt x="581" y="43"/>
                      <a:pt x="582" y="42"/>
                      <a:pt x="583" y="42"/>
                    </a:cubicBezTo>
                    <a:cubicBezTo>
                      <a:pt x="609" y="31"/>
                      <a:pt x="609" y="31"/>
                      <a:pt x="609" y="31"/>
                    </a:cubicBezTo>
                    <a:cubicBezTo>
                      <a:pt x="603" y="27"/>
                      <a:pt x="603" y="27"/>
                      <a:pt x="603" y="27"/>
                    </a:cubicBezTo>
                    <a:cubicBezTo>
                      <a:pt x="600" y="25"/>
                      <a:pt x="598" y="21"/>
                      <a:pt x="599" y="17"/>
                    </a:cubicBezTo>
                    <a:cubicBezTo>
                      <a:pt x="600" y="13"/>
                      <a:pt x="603" y="9"/>
                      <a:pt x="607" y="9"/>
                    </a:cubicBezTo>
                    <a:cubicBezTo>
                      <a:pt x="662" y="0"/>
                      <a:pt x="662" y="0"/>
                      <a:pt x="662" y="0"/>
                    </a:cubicBezTo>
                    <a:cubicBezTo>
                      <a:pt x="662" y="0"/>
                      <a:pt x="663" y="0"/>
                      <a:pt x="663" y="0"/>
                    </a:cubicBezTo>
                    <a:cubicBezTo>
                      <a:pt x="732" y="0"/>
                      <a:pt x="732" y="0"/>
                      <a:pt x="732" y="0"/>
                    </a:cubicBezTo>
                    <a:cubicBezTo>
                      <a:pt x="737" y="0"/>
                      <a:pt x="741" y="3"/>
                      <a:pt x="742" y="7"/>
                    </a:cubicBezTo>
                    <a:cubicBezTo>
                      <a:pt x="742" y="7"/>
                      <a:pt x="742" y="8"/>
                      <a:pt x="743" y="8"/>
                    </a:cubicBezTo>
                    <a:cubicBezTo>
                      <a:pt x="819" y="0"/>
                      <a:pt x="819" y="0"/>
                      <a:pt x="819" y="0"/>
                    </a:cubicBezTo>
                    <a:cubicBezTo>
                      <a:pt x="820" y="0"/>
                      <a:pt x="820" y="0"/>
                      <a:pt x="820" y="0"/>
                    </a:cubicBezTo>
                    <a:cubicBezTo>
                      <a:pt x="919" y="0"/>
                      <a:pt x="919" y="0"/>
                      <a:pt x="919" y="0"/>
                    </a:cubicBezTo>
                    <a:cubicBezTo>
                      <a:pt x="920" y="0"/>
                      <a:pt x="922" y="0"/>
                      <a:pt x="923" y="1"/>
                    </a:cubicBezTo>
                    <a:cubicBezTo>
                      <a:pt x="948" y="12"/>
                      <a:pt x="948" y="12"/>
                      <a:pt x="948" y="12"/>
                    </a:cubicBezTo>
                    <a:cubicBezTo>
                      <a:pt x="952" y="14"/>
                      <a:pt x="954" y="18"/>
                      <a:pt x="954" y="22"/>
                    </a:cubicBezTo>
                    <a:cubicBezTo>
                      <a:pt x="954" y="27"/>
                      <a:pt x="951" y="30"/>
                      <a:pt x="947" y="32"/>
                    </a:cubicBezTo>
                    <a:cubicBezTo>
                      <a:pt x="934" y="36"/>
                      <a:pt x="918" y="42"/>
                      <a:pt x="914" y="44"/>
                    </a:cubicBezTo>
                    <a:cubicBezTo>
                      <a:pt x="911" y="47"/>
                      <a:pt x="901" y="61"/>
                      <a:pt x="892" y="73"/>
                    </a:cubicBezTo>
                    <a:cubicBezTo>
                      <a:pt x="892" y="82"/>
                      <a:pt x="892" y="82"/>
                      <a:pt x="892" y="82"/>
                    </a:cubicBezTo>
                    <a:cubicBezTo>
                      <a:pt x="892" y="85"/>
                      <a:pt x="891" y="88"/>
                      <a:pt x="888" y="90"/>
                    </a:cubicBezTo>
                    <a:cubicBezTo>
                      <a:pt x="874" y="102"/>
                      <a:pt x="874" y="102"/>
                      <a:pt x="874" y="102"/>
                    </a:cubicBezTo>
                    <a:cubicBezTo>
                      <a:pt x="873" y="103"/>
                      <a:pt x="871" y="103"/>
                      <a:pt x="870" y="104"/>
                    </a:cubicBezTo>
                    <a:cubicBezTo>
                      <a:pt x="797" y="122"/>
                      <a:pt x="797" y="122"/>
                      <a:pt x="797" y="122"/>
                    </a:cubicBezTo>
                    <a:cubicBezTo>
                      <a:pt x="778" y="136"/>
                      <a:pt x="778" y="136"/>
                      <a:pt x="778" y="136"/>
                    </a:cubicBezTo>
                    <a:cubicBezTo>
                      <a:pt x="750" y="156"/>
                      <a:pt x="750" y="156"/>
                      <a:pt x="750" y="156"/>
                    </a:cubicBezTo>
                    <a:cubicBezTo>
                      <a:pt x="746" y="159"/>
                      <a:pt x="740" y="159"/>
                      <a:pt x="737" y="155"/>
                    </a:cubicBezTo>
                    <a:cubicBezTo>
                      <a:pt x="713" y="131"/>
                      <a:pt x="712" y="127"/>
                      <a:pt x="711" y="125"/>
                    </a:cubicBezTo>
                    <a:cubicBezTo>
                      <a:pt x="710" y="122"/>
                      <a:pt x="708" y="117"/>
                      <a:pt x="717" y="92"/>
                    </a:cubicBezTo>
                    <a:cubicBezTo>
                      <a:pt x="717" y="90"/>
                      <a:pt x="719" y="88"/>
                      <a:pt x="720" y="87"/>
                    </a:cubicBezTo>
                    <a:cubicBezTo>
                      <a:pt x="729" y="80"/>
                      <a:pt x="729" y="80"/>
                      <a:pt x="729" y="80"/>
                    </a:cubicBezTo>
                    <a:cubicBezTo>
                      <a:pt x="714" y="61"/>
                      <a:pt x="714" y="61"/>
                      <a:pt x="714" y="61"/>
                    </a:cubicBezTo>
                    <a:cubicBezTo>
                      <a:pt x="683" y="47"/>
                      <a:pt x="683" y="47"/>
                      <a:pt x="683" y="47"/>
                    </a:cubicBezTo>
                    <a:cubicBezTo>
                      <a:pt x="637" y="56"/>
                      <a:pt x="637" y="56"/>
                      <a:pt x="637" y="56"/>
                    </a:cubicBezTo>
                    <a:cubicBezTo>
                      <a:pt x="640" y="59"/>
                      <a:pt x="640" y="59"/>
                      <a:pt x="640" y="59"/>
                    </a:cubicBezTo>
                    <a:cubicBezTo>
                      <a:pt x="666" y="74"/>
                      <a:pt x="666" y="74"/>
                      <a:pt x="666" y="74"/>
                    </a:cubicBezTo>
                    <a:cubicBezTo>
                      <a:pt x="668" y="76"/>
                      <a:pt x="670" y="79"/>
                      <a:pt x="671" y="82"/>
                    </a:cubicBezTo>
                    <a:cubicBezTo>
                      <a:pt x="674" y="110"/>
                      <a:pt x="674" y="110"/>
                      <a:pt x="674" y="110"/>
                    </a:cubicBezTo>
                    <a:cubicBezTo>
                      <a:pt x="674" y="116"/>
                      <a:pt x="670" y="121"/>
                      <a:pt x="665" y="121"/>
                    </a:cubicBezTo>
                    <a:cubicBezTo>
                      <a:pt x="645" y="124"/>
                      <a:pt x="645" y="124"/>
                      <a:pt x="645" y="124"/>
                    </a:cubicBezTo>
                    <a:cubicBezTo>
                      <a:pt x="641" y="128"/>
                      <a:pt x="641" y="128"/>
                      <a:pt x="641" y="128"/>
                    </a:cubicBezTo>
                    <a:cubicBezTo>
                      <a:pt x="639" y="131"/>
                      <a:pt x="636" y="132"/>
                      <a:pt x="632" y="132"/>
                    </a:cubicBezTo>
                    <a:cubicBezTo>
                      <a:pt x="612" y="129"/>
                      <a:pt x="612" y="129"/>
                      <a:pt x="612" y="129"/>
                    </a:cubicBezTo>
                    <a:cubicBezTo>
                      <a:pt x="611" y="129"/>
                      <a:pt x="609" y="128"/>
                      <a:pt x="608" y="128"/>
                    </a:cubicBezTo>
                    <a:cubicBezTo>
                      <a:pt x="603" y="125"/>
                      <a:pt x="603" y="125"/>
                      <a:pt x="603" y="125"/>
                    </a:cubicBezTo>
                    <a:cubicBezTo>
                      <a:pt x="601" y="124"/>
                      <a:pt x="600" y="123"/>
                      <a:pt x="599" y="121"/>
                    </a:cubicBezTo>
                    <a:cubicBezTo>
                      <a:pt x="589" y="107"/>
                      <a:pt x="589" y="107"/>
                      <a:pt x="589" y="107"/>
                    </a:cubicBezTo>
                    <a:cubicBezTo>
                      <a:pt x="558" y="107"/>
                      <a:pt x="558" y="107"/>
                      <a:pt x="558" y="107"/>
                    </a:cubicBezTo>
                    <a:cubicBezTo>
                      <a:pt x="555" y="125"/>
                      <a:pt x="555" y="125"/>
                      <a:pt x="555" y="125"/>
                    </a:cubicBezTo>
                    <a:cubicBezTo>
                      <a:pt x="554" y="130"/>
                      <a:pt x="551" y="133"/>
                      <a:pt x="546" y="134"/>
                    </a:cubicBezTo>
                    <a:cubicBezTo>
                      <a:pt x="502" y="137"/>
                      <a:pt x="502" y="137"/>
                      <a:pt x="502" y="137"/>
                    </a:cubicBezTo>
                    <a:cubicBezTo>
                      <a:pt x="478" y="161"/>
                      <a:pt x="478" y="161"/>
                      <a:pt x="478" y="161"/>
                    </a:cubicBezTo>
                    <a:cubicBezTo>
                      <a:pt x="510" y="172"/>
                      <a:pt x="510" y="172"/>
                      <a:pt x="510" y="172"/>
                    </a:cubicBezTo>
                    <a:cubicBezTo>
                      <a:pt x="513" y="173"/>
                      <a:pt x="515" y="175"/>
                      <a:pt x="516" y="178"/>
                    </a:cubicBezTo>
                    <a:cubicBezTo>
                      <a:pt x="516" y="179"/>
                      <a:pt x="517" y="179"/>
                      <a:pt x="517" y="180"/>
                    </a:cubicBezTo>
                    <a:cubicBezTo>
                      <a:pt x="534" y="177"/>
                      <a:pt x="534" y="177"/>
                      <a:pt x="534" y="177"/>
                    </a:cubicBezTo>
                    <a:cubicBezTo>
                      <a:pt x="545" y="143"/>
                      <a:pt x="545" y="143"/>
                      <a:pt x="545" y="143"/>
                    </a:cubicBezTo>
                    <a:cubicBezTo>
                      <a:pt x="547" y="139"/>
                      <a:pt x="550" y="136"/>
                      <a:pt x="555" y="136"/>
                    </a:cubicBezTo>
                    <a:cubicBezTo>
                      <a:pt x="599" y="136"/>
                      <a:pt x="599" y="136"/>
                      <a:pt x="599" y="136"/>
                    </a:cubicBezTo>
                    <a:cubicBezTo>
                      <a:pt x="602" y="136"/>
                      <a:pt x="605" y="138"/>
                      <a:pt x="607" y="140"/>
                    </a:cubicBezTo>
                    <a:cubicBezTo>
                      <a:pt x="618" y="154"/>
                      <a:pt x="618" y="154"/>
                      <a:pt x="618" y="154"/>
                    </a:cubicBezTo>
                    <a:cubicBezTo>
                      <a:pt x="659" y="193"/>
                      <a:pt x="659" y="193"/>
                      <a:pt x="659" y="193"/>
                    </a:cubicBezTo>
                    <a:cubicBezTo>
                      <a:pt x="661" y="195"/>
                      <a:pt x="662" y="198"/>
                      <a:pt x="662" y="201"/>
                    </a:cubicBezTo>
                    <a:cubicBezTo>
                      <a:pt x="662" y="204"/>
                      <a:pt x="660" y="207"/>
                      <a:pt x="658" y="209"/>
                    </a:cubicBezTo>
                    <a:cubicBezTo>
                      <a:pt x="642" y="221"/>
                      <a:pt x="642" y="221"/>
                      <a:pt x="642" y="221"/>
                    </a:cubicBezTo>
                    <a:cubicBezTo>
                      <a:pt x="640" y="222"/>
                      <a:pt x="638" y="223"/>
                      <a:pt x="636" y="223"/>
                    </a:cubicBezTo>
                    <a:cubicBezTo>
                      <a:pt x="602" y="223"/>
                      <a:pt x="602" y="223"/>
                      <a:pt x="602" y="223"/>
                    </a:cubicBezTo>
                    <a:cubicBezTo>
                      <a:pt x="599" y="225"/>
                      <a:pt x="599" y="225"/>
                      <a:pt x="599" y="225"/>
                    </a:cubicBezTo>
                    <a:cubicBezTo>
                      <a:pt x="608" y="235"/>
                      <a:pt x="608" y="235"/>
                      <a:pt x="608" y="235"/>
                    </a:cubicBezTo>
                    <a:cubicBezTo>
                      <a:pt x="610" y="238"/>
                      <a:pt x="611" y="241"/>
                      <a:pt x="610" y="244"/>
                    </a:cubicBezTo>
                    <a:cubicBezTo>
                      <a:pt x="606" y="263"/>
                      <a:pt x="606" y="263"/>
                      <a:pt x="606" y="263"/>
                    </a:cubicBezTo>
                    <a:cubicBezTo>
                      <a:pt x="605" y="268"/>
                      <a:pt x="601" y="271"/>
                      <a:pt x="596" y="271"/>
                    </a:cubicBezTo>
                    <a:cubicBezTo>
                      <a:pt x="565" y="271"/>
                      <a:pt x="565" y="271"/>
                      <a:pt x="565" y="271"/>
                    </a:cubicBezTo>
                    <a:cubicBezTo>
                      <a:pt x="497" y="314"/>
                      <a:pt x="497" y="314"/>
                      <a:pt x="497" y="314"/>
                    </a:cubicBezTo>
                    <a:cubicBezTo>
                      <a:pt x="495" y="333"/>
                      <a:pt x="495" y="333"/>
                      <a:pt x="495" y="333"/>
                    </a:cubicBezTo>
                    <a:cubicBezTo>
                      <a:pt x="494" y="335"/>
                      <a:pt x="493" y="338"/>
                      <a:pt x="491" y="339"/>
                    </a:cubicBezTo>
                    <a:cubicBezTo>
                      <a:pt x="455" y="369"/>
                      <a:pt x="455" y="369"/>
                      <a:pt x="455" y="369"/>
                    </a:cubicBezTo>
                    <a:cubicBezTo>
                      <a:pt x="451" y="401"/>
                      <a:pt x="451" y="401"/>
                      <a:pt x="451" y="401"/>
                    </a:cubicBezTo>
                    <a:cubicBezTo>
                      <a:pt x="450" y="406"/>
                      <a:pt x="446" y="410"/>
                      <a:pt x="441" y="410"/>
                    </a:cubicBezTo>
                    <a:cubicBezTo>
                      <a:pt x="427" y="412"/>
                      <a:pt x="427" y="412"/>
                      <a:pt x="427" y="412"/>
                    </a:cubicBezTo>
                    <a:cubicBezTo>
                      <a:pt x="422" y="412"/>
                      <a:pt x="418" y="410"/>
                      <a:pt x="416" y="406"/>
                    </a:cubicBezTo>
                    <a:cubicBezTo>
                      <a:pt x="403" y="376"/>
                      <a:pt x="403" y="376"/>
                      <a:pt x="403" y="376"/>
                    </a:cubicBezTo>
                    <a:cubicBezTo>
                      <a:pt x="343" y="394"/>
                      <a:pt x="343" y="394"/>
                      <a:pt x="343" y="394"/>
                    </a:cubicBezTo>
                    <a:cubicBezTo>
                      <a:pt x="331" y="436"/>
                      <a:pt x="331" y="436"/>
                      <a:pt x="331" y="436"/>
                    </a:cubicBezTo>
                    <a:cubicBezTo>
                      <a:pt x="339" y="439"/>
                      <a:pt x="347" y="442"/>
                      <a:pt x="351" y="443"/>
                    </a:cubicBezTo>
                    <a:cubicBezTo>
                      <a:pt x="353" y="441"/>
                      <a:pt x="356" y="438"/>
                      <a:pt x="358" y="436"/>
                    </a:cubicBezTo>
                    <a:cubicBezTo>
                      <a:pt x="360" y="434"/>
                      <a:pt x="363" y="433"/>
                      <a:pt x="366" y="433"/>
                    </a:cubicBezTo>
                    <a:cubicBezTo>
                      <a:pt x="388" y="433"/>
                      <a:pt x="388" y="433"/>
                      <a:pt x="388" y="433"/>
                    </a:cubicBezTo>
                    <a:cubicBezTo>
                      <a:pt x="391" y="433"/>
                      <a:pt x="394" y="434"/>
                      <a:pt x="396" y="437"/>
                    </a:cubicBezTo>
                    <a:cubicBezTo>
                      <a:pt x="398" y="440"/>
                      <a:pt x="398" y="443"/>
                      <a:pt x="397" y="446"/>
                    </a:cubicBezTo>
                    <a:cubicBezTo>
                      <a:pt x="388" y="473"/>
                      <a:pt x="388" y="473"/>
                      <a:pt x="388" y="473"/>
                    </a:cubicBezTo>
                    <a:cubicBezTo>
                      <a:pt x="412" y="480"/>
                      <a:pt x="412" y="480"/>
                      <a:pt x="412" y="480"/>
                    </a:cubicBezTo>
                    <a:cubicBezTo>
                      <a:pt x="416" y="481"/>
                      <a:pt x="419" y="485"/>
                      <a:pt x="419" y="490"/>
                    </a:cubicBezTo>
                    <a:cubicBezTo>
                      <a:pt x="419" y="511"/>
                      <a:pt x="419" y="511"/>
                      <a:pt x="419" y="511"/>
                    </a:cubicBezTo>
                    <a:cubicBezTo>
                      <a:pt x="436" y="517"/>
                      <a:pt x="436" y="517"/>
                      <a:pt x="436" y="517"/>
                    </a:cubicBezTo>
                    <a:cubicBezTo>
                      <a:pt x="462" y="502"/>
                      <a:pt x="462" y="502"/>
                      <a:pt x="462" y="502"/>
                    </a:cubicBezTo>
                    <a:cubicBezTo>
                      <a:pt x="463" y="501"/>
                      <a:pt x="465" y="500"/>
                      <a:pt x="467" y="500"/>
                    </a:cubicBezTo>
                    <a:cubicBezTo>
                      <a:pt x="553" y="500"/>
                      <a:pt x="553" y="500"/>
                      <a:pt x="553" y="500"/>
                    </a:cubicBezTo>
                    <a:cubicBezTo>
                      <a:pt x="556" y="500"/>
                      <a:pt x="558" y="501"/>
                      <a:pt x="560" y="502"/>
                    </a:cubicBezTo>
                    <a:cubicBezTo>
                      <a:pt x="632" y="561"/>
                      <a:pt x="632" y="561"/>
                      <a:pt x="632" y="561"/>
                    </a:cubicBezTo>
                    <a:cubicBezTo>
                      <a:pt x="634" y="563"/>
                      <a:pt x="636" y="566"/>
                      <a:pt x="636" y="569"/>
                    </a:cubicBezTo>
                    <a:cubicBezTo>
                      <a:pt x="636" y="578"/>
                      <a:pt x="635" y="588"/>
                      <a:pt x="634" y="596"/>
                    </a:cubicBezTo>
                    <a:cubicBezTo>
                      <a:pt x="648" y="602"/>
                      <a:pt x="688" y="612"/>
                      <a:pt x="723" y="619"/>
                    </a:cubicBezTo>
                    <a:cubicBezTo>
                      <a:pt x="726" y="620"/>
                      <a:pt x="729" y="622"/>
                      <a:pt x="730" y="625"/>
                    </a:cubicBezTo>
                    <a:cubicBezTo>
                      <a:pt x="745" y="660"/>
                      <a:pt x="745" y="660"/>
                      <a:pt x="745" y="660"/>
                    </a:cubicBezTo>
                    <a:cubicBezTo>
                      <a:pt x="746" y="663"/>
                      <a:pt x="746" y="666"/>
                      <a:pt x="745" y="668"/>
                    </a:cubicBezTo>
                    <a:cubicBezTo>
                      <a:pt x="708" y="765"/>
                      <a:pt x="708" y="765"/>
                      <a:pt x="708" y="765"/>
                    </a:cubicBezTo>
                    <a:cubicBezTo>
                      <a:pt x="708" y="766"/>
                      <a:pt x="707" y="767"/>
                      <a:pt x="707" y="768"/>
                    </a:cubicBezTo>
                    <a:cubicBezTo>
                      <a:pt x="589" y="916"/>
                      <a:pt x="589" y="916"/>
                      <a:pt x="589" y="916"/>
                    </a:cubicBezTo>
                    <a:cubicBezTo>
                      <a:pt x="589" y="980"/>
                      <a:pt x="589" y="980"/>
                      <a:pt x="589" y="980"/>
                    </a:cubicBezTo>
                    <a:cubicBezTo>
                      <a:pt x="618" y="1009"/>
                      <a:pt x="618" y="1009"/>
                      <a:pt x="618" y="1009"/>
                    </a:cubicBezTo>
                    <a:cubicBezTo>
                      <a:pt x="621" y="1013"/>
                      <a:pt x="622" y="1018"/>
                      <a:pt x="619" y="1022"/>
                    </a:cubicBezTo>
                    <a:cubicBezTo>
                      <a:pt x="617" y="1025"/>
                      <a:pt x="614" y="1027"/>
                      <a:pt x="611" y="1027"/>
                    </a:cubicBezTo>
                    <a:moveTo>
                      <a:pt x="389" y="495"/>
                    </a:moveTo>
                    <a:cubicBezTo>
                      <a:pt x="398" y="514"/>
                      <a:pt x="398" y="514"/>
                      <a:pt x="398" y="514"/>
                    </a:cubicBezTo>
                    <a:cubicBezTo>
                      <a:pt x="398" y="497"/>
                      <a:pt x="398" y="497"/>
                      <a:pt x="398" y="497"/>
                    </a:cubicBezTo>
                    <a:cubicBezTo>
                      <a:pt x="389" y="495"/>
                      <a:pt x="389" y="495"/>
                      <a:pt x="389" y="495"/>
                    </a:cubicBezTo>
                  </a:path>
                </a:pathLst>
              </a:custGeom>
              <a:solidFill>
                <a:srgbClr val="E1E1E1"/>
              </a:solidFill>
              <a:ln>
                <a:noFill/>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 name="Freeform 8">
                <a:extLst>
                  <a:ext uri="{FF2B5EF4-FFF2-40B4-BE49-F238E27FC236}">
                    <a16:creationId xmlns:a16="http://schemas.microsoft.com/office/drawing/2014/main" id="{49C52815-FB09-40FE-93ED-2BC8A2E4400E}"/>
                  </a:ext>
                </a:extLst>
              </p:cNvPr>
              <p:cNvSpPr>
                <a:spLocks noEditPoints="1"/>
              </p:cNvSpPr>
              <p:nvPr/>
            </p:nvSpPr>
            <p:spPr bwMode="auto">
              <a:xfrm>
                <a:off x="1796859" y="4902379"/>
                <a:ext cx="1566923" cy="1125121"/>
              </a:xfrm>
              <a:custGeom>
                <a:avLst/>
                <a:gdLst>
                  <a:gd name="T0" fmla="*/ 235 w 1153"/>
                  <a:gd name="T1" fmla="*/ 777 h 829"/>
                  <a:gd name="T2" fmla="*/ 208 w 1153"/>
                  <a:gd name="T3" fmla="*/ 607 h 829"/>
                  <a:gd name="T4" fmla="*/ 184 w 1153"/>
                  <a:gd name="T5" fmla="*/ 536 h 829"/>
                  <a:gd name="T6" fmla="*/ 111 w 1153"/>
                  <a:gd name="T7" fmla="*/ 535 h 829"/>
                  <a:gd name="T8" fmla="*/ 3 w 1153"/>
                  <a:gd name="T9" fmla="*/ 457 h 829"/>
                  <a:gd name="T10" fmla="*/ 3 w 1153"/>
                  <a:gd name="T11" fmla="*/ 389 h 829"/>
                  <a:gd name="T12" fmla="*/ 146 w 1153"/>
                  <a:gd name="T13" fmla="*/ 282 h 829"/>
                  <a:gd name="T14" fmla="*/ 212 w 1153"/>
                  <a:gd name="T15" fmla="*/ 307 h 829"/>
                  <a:gd name="T16" fmla="*/ 302 w 1153"/>
                  <a:gd name="T17" fmla="*/ 311 h 829"/>
                  <a:gd name="T18" fmla="*/ 340 w 1153"/>
                  <a:gd name="T19" fmla="*/ 299 h 829"/>
                  <a:gd name="T20" fmla="*/ 297 w 1153"/>
                  <a:gd name="T21" fmla="*/ 284 h 829"/>
                  <a:gd name="T22" fmla="*/ 263 w 1153"/>
                  <a:gd name="T23" fmla="*/ 281 h 829"/>
                  <a:gd name="T24" fmla="*/ 218 w 1153"/>
                  <a:gd name="T25" fmla="*/ 227 h 829"/>
                  <a:gd name="T26" fmla="*/ 228 w 1153"/>
                  <a:gd name="T27" fmla="*/ 291 h 829"/>
                  <a:gd name="T28" fmla="*/ 150 w 1153"/>
                  <a:gd name="T29" fmla="*/ 248 h 829"/>
                  <a:gd name="T30" fmla="*/ 78 w 1153"/>
                  <a:gd name="T31" fmla="*/ 290 h 829"/>
                  <a:gd name="T32" fmla="*/ 83 w 1153"/>
                  <a:gd name="T33" fmla="*/ 225 h 829"/>
                  <a:gd name="T34" fmla="*/ 103 w 1153"/>
                  <a:gd name="T35" fmla="*/ 203 h 829"/>
                  <a:gd name="T36" fmla="*/ 110 w 1153"/>
                  <a:gd name="T37" fmla="*/ 162 h 829"/>
                  <a:gd name="T38" fmla="*/ 114 w 1153"/>
                  <a:gd name="T39" fmla="*/ 122 h 829"/>
                  <a:gd name="T40" fmla="*/ 169 w 1153"/>
                  <a:gd name="T41" fmla="*/ 150 h 829"/>
                  <a:gd name="T42" fmla="*/ 280 w 1153"/>
                  <a:gd name="T43" fmla="*/ 120 h 829"/>
                  <a:gd name="T44" fmla="*/ 233 w 1153"/>
                  <a:gd name="T45" fmla="*/ 132 h 829"/>
                  <a:gd name="T46" fmla="*/ 202 w 1153"/>
                  <a:gd name="T47" fmla="*/ 134 h 829"/>
                  <a:gd name="T48" fmla="*/ 169 w 1153"/>
                  <a:gd name="T49" fmla="*/ 99 h 829"/>
                  <a:gd name="T50" fmla="*/ 279 w 1153"/>
                  <a:gd name="T51" fmla="*/ 30 h 829"/>
                  <a:gd name="T52" fmla="*/ 355 w 1153"/>
                  <a:gd name="T53" fmla="*/ 54 h 829"/>
                  <a:gd name="T54" fmla="*/ 359 w 1153"/>
                  <a:gd name="T55" fmla="*/ 60 h 829"/>
                  <a:gd name="T56" fmla="*/ 448 w 1153"/>
                  <a:gd name="T57" fmla="*/ 43 h 829"/>
                  <a:gd name="T58" fmla="*/ 508 w 1153"/>
                  <a:gd name="T59" fmla="*/ 13 h 829"/>
                  <a:gd name="T60" fmla="*/ 681 w 1153"/>
                  <a:gd name="T61" fmla="*/ 0 h 829"/>
                  <a:gd name="T62" fmla="*/ 854 w 1153"/>
                  <a:gd name="T63" fmla="*/ 24 h 829"/>
                  <a:gd name="T64" fmla="*/ 1152 w 1153"/>
                  <a:gd name="T65" fmla="*/ 75 h 829"/>
                  <a:gd name="T66" fmla="*/ 1115 w 1153"/>
                  <a:gd name="T67" fmla="*/ 102 h 829"/>
                  <a:gd name="T68" fmla="*/ 1091 w 1153"/>
                  <a:gd name="T69" fmla="*/ 161 h 829"/>
                  <a:gd name="T70" fmla="*/ 1033 w 1153"/>
                  <a:gd name="T71" fmla="*/ 139 h 829"/>
                  <a:gd name="T72" fmla="*/ 1001 w 1153"/>
                  <a:gd name="T73" fmla="*/ 128 h 829"/>
                  <a:gd name="T74" fmla="*/ 978 w 1153"/>
                  <a:gd name="T75" fmla="*/ 156 h 829"/>
                  <a:gd name="T76" fmla="*/ 995 w 1153"/>
                  <a:gd name="T77" fmla="*/ 214 h 829"/>
                  <a:gd name="T78" fmla="*/ 996 w 1153"/>
                  <a:gd name="T79" fmla="*/ 274 h 829"/>
                  <a:gd name="T80" fmla="*/ 969 w 1153"/>
                  <a:gd name="T81" fmla="*/ 307 h 829"/>
                  <a:gd name="T82" fmla="*/ 913 w 1153"/>
                  <a:gd name="T83" fmla="*/ 269 h 829"/>
                  <a:gd name="T84" fmla="*/ 936 w 1153"/>
                  <a:gd name="T85" fmla="*/ 288 h 829"/>
                  <a:gd name="T86" fmla="*/ 951 w 1153"/>
                  <a:gd name="T87" fmla="*/ 378 h 829"/>
                  <a:gd name="T88" fmla="*/ 865 w 1153"/>
                  <a:gd name="T89" fmla="*/ 416 h 829"/>
                  <a:gd name="T90" fmla="*/ 891 w 1153"/>
                  <a:gd name="T91" fmla="*/ 468 h 829"/>
                  <a:gd name="T92" fmla="*/ 848 w 1153"/>
                  <a:gd name="T93" fmla="*/ 507 h 829"/>
                  <a:gd name="T94" fmla="*/ 849 w 1153"/>
                  <a:gd name="T95" fmla="*/ 552 h 829"/>
                  <a:gd name="T96" fmla="*/ 805 w 1153"/>
                  <a:gd name="T97" fmla="*/ 486 h 829"/>
                  <a:gd name="T98" fmla="*/ 768 w 1153"/>
                  <a:gd name="T99" fmla="*/ 424 h 829"/>
                  <a:gd name="T100" fmla="*/ 708 w 1153"/>
                  <a:gd name="T101" fmla="*/ 441 h 829"/>
                  <a:gd name="T102" fmla="*/ 700 w 1153"/>
                  <a:gd name="T103" fmla="*/ 462 h 829"/>
                  <a:gd name="T104" fmla="*/ 652 w 1153"/>
                  <a:gd name="T105" fmla="*/ 499 h 829"/>
                  <a:gd name="T106" fmla="*/ 602 w 1153"/>
                  <a:gd name="T107" fmla="*/ 408 h 829"/>
                  <a:gd name="T108" fmla="*/ 469 w 1153"/>
                  <a:gd name="T109" fmla="*/ 346 h 829"/>
                  <a:gd name="T110" fmla="*/ 512 w 1153"/>
                  <a:gd name="T111" fmla="*/ 373 h 829"/>
                  <a:gd name="T112" fmla="*/ 510 w 1153"/>
                  <a:gd name="T113" fmla="*/ 442 h 829"/>
                  <a:gd name="T114" fmla="*/ 379 w 1153"/>
                  <a:gd name="T115" fmla="*/ 362 h 829"/>
                  <a:gd name="T116" fmla="*/ 496 w 1153"/>
                  <a:gd name="T117" fmla="*/ 460 h 829"/>
                  <a:gd name="T118" fmla="*/ 480 w 1153"/>
                  <a:gd name="T119" fmla="*/ 539 h 829"/>
                  <a:gd name="T120" fmla="*/ 420 w 1153"/>
                  <a:gd name="T121" fmla="*/ 631 h 829"/>
                  <a:gd name="T122" fmla="*/ 394 w 1153"/>
                  <a:gd name="T123" fmla="*/ 729 h 829"/>
                  <a:gd name="T124" fmla="*/ 1054 w 1153"/>
                  <a:gd name="T125" fmla="*/ 13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3" h="829">
                    <a:moveTo>
                      <a:pt x="306" y="829"/>
                    </a:moveTo>
                    <a:cubicBezTo>
                      <a:pt x="266" y="829"/>
                      <a:pt x="266" y="829"/>
                      <a:pt x="266" y="829"/>
                    </a:cubicBezTo>
                    <a:cubicBezTo>
                      <a:pt x="262" y="829"/>
                      <a:pt x="258" y="827"/>
                      <a:pt x="257" y="823"/>
                    </a:cubicBezTo>
                    <a:cubicBezTo>
                      <a:pt x="235" y="777"/>
                      <a:pt x="235" y="777"/>
                      <a:pt x="235" y="777"/>
                    </a:cubicBezTo>
                    <a:cubicBezTo>
                      <a:pt x="234" y="776"/>
                      <a:pt x="234" y="776"/>
                      <a:pt x="234" y="776"/>
                    </a:cubicBezTo>
                    <a:cubicBezTo>
                      <a:pt x="204" y="699"/>
                      <a:pt x="205" y="695"/>
                      <a:pt x="206" y="691"/>
                    </a:cubicBezTo>
                    <a:cubicBezTo>
                      <a:pt x="208" y="687"/>
                      <a:pt x="217" y="661"/>
                      <a:pt x="220" y="651"/>
                    </a:cubicBezTo>
                    <a:cubicBezTo>
                      <a:pt x="208" y="607"/>
                      <a:pt x="208" y="607"/>
                      <a:pt x="208" y="607"/>
                    </a:cubicBezTo>
                    <a:cubicBezTo>
                      <a:pt x="191" y="578"/>
                      <a:pt x="191" y="578"/>
                      <a:pt x="191" y="578"/>
                    </a:cubicBezTo>
                    <a:cubicBezTo>
                      <a:pt x="190" y="576"/>
                      <a:pt x="190" y="574"/>
                      <a:pt x="190" y="573"/>
                    </a:cubicBezTo>
                    <a:cubicBezTo>
                      <a:pt x="190" y="544"/>
                      <a:pt x="190" y="544"/>
                      <a:pt x="190" y="544"/>
                    </a:cubicBezTo>
                    <a:cubicBezTo>
                      <a:pt x="184" y="536"/>
                      <a:pt x="184" y="536"/>
                      <a:pt x="184" y="536"/>
                    </a:cubicBezTo>
                    <a:cubicBezTo>
                      <a:pt x="171" y="536"/>
                      <a:pt x="171" y="536"/>
                      <a:pt x="171" y="536"/>
                    </a:cubicBezTo>
                    <a:cubicBezTo>
                      <a:pt x="168" y="536"/>
                      <a:pt x="165" y="535"/>
                      <a:pt x="163" y="533"/>
                    </a:cubicBezTo>
                    <a:cubicBezTo>
                      <a:pt x="152" y="521"/>
                      <a:pt x="152" y="521"/>
                      <a:pt x="152" y="521"/>
                    </a:cubicBezTo>
                    <a:cubicBezTo>
                      <a:pt x="111" y="535"/>
                      <a:pt x="111" y="535"/>
                      <a:pt x="111" y="535"/>
                    </a:cubicBezTo>
                    <a:cubicBezTo>
                      <a:pt x="110" y="536"/>
                      <a:pt x="109" y="536"/>
                      <a:pt x="107" y="536"/>
                    </a:cubicBezTo>
                    <a:cubicBezTo>
                      <a:pt x="71" y="536"/>
                      <a:pt x="71" y="536"/>
                      <a:pt x="71" y="536"/>
                    </a:cubicBezTo>
                    <a:cubicBezTo>
                      <a:pt x="68" y="536"/>
                      <a:pt x="65" y="535"/>
                      <a:pt x="63" y="532"/>
                    </a:cubicBezTo>
                    <a:cubicBezTo>
                      <a:pt x="3" y="457"/>
                      <a:pt x="3" y="457"/>
                      <a:pt x="3" y="457"/>
                    </a:cubicBezTo>
                    <a:cubicBezTo>
                      <a:pt x="0" y="454"/>
                      <a:pt x="0" y="450"/>
                      <a:pt x="1" y="447"/>
                    </a:cubicBezTo>
                    <a:cubicBezTo>
                      <a:pt x="11" y="424"/>
                      <a:pt x="11" y="424"/>
                      <a:pt x="11" y="424"/>
                    </a:cubicBezTo>
                    <a:cubicBezTo>
                      <a:pt x="1" y="401"/>
                      <a:pt x="1" y="401"/>
                      <a:pt x="1" y="401"/>
                    </a:cubicBezTo>
                    <a:cubicBezTo>
                      <a:pt x="0" y="397"/>
                      <a:pt x="0" y="392"/>
                      <a:pt x="3" y="389"/>
                    </a:cubicBezTo>
                    <a:cubicBezTo>
                      <a:pt x="91" y="297"/>
                      <a:pt x="91" y="297"/>
                      <a:pt x="91" y="297"/>
                    </a:cubicBezTo>
                    <a:cubicBezTo>
                      <a:pt x="93" y="295"/>
                      <a:pt x="96" y="294"/>
                      <a:pt x="99" y="294"/>
                    </a:cubicBezTo>
                    <a:cubicBezTo>
                      <a:pt x="120" y="294"/>
                      <a:pt x="120" y="294"/>
                      <a:pt x="120" y="294"/>
                    </a:cubicBezTo>
                    <a:cubicBezTo>
                      <a:pt x="146" y="282"/>
                      <a:pt x="146" y="282"/>
                      <a:pt x="146" y="282"/>
                    </a:cubicBezTo>
                    <a:cubicBezTo>
                      <a:pt x="147" y="281"/>
                      <a:pt x="149" y="281"/>
                      <a:pt x="150" y="281"/>
                    </a:cubicBezTo>
                    <a:cubicBezTo>
                      <a:pt x="194" y="282"/>
                      <a:pt x="194" y="282"/>
                      <a:pt x="194" y="282"/>
                    </a:cubicBezTo>
                    <a:cubicBezTo>
                      <a:pt x="198" y="282"/>
                      <a:pt x="202" y="285"/>
                      <a:pt x="203" y="288"/>
                    </a:cubicBezTo>
                    <a:cubicBezTo>
                      <a:pt x="212" y="307"/>
                      <a:pt x="212" y="307"/>
                      <a:pt x="212" y="307"/>
                    </a:cubicBezTo>
                    <a:cubicBezTo>
                      <a:pt x="251" y="314"/>
                      <a:pt x="251" y="314"/>
                      <a:pt x="251" y="314"/>
                    </a:cubicBezTo>
                    <a:cubicBezTo>
                      <a:pt x="256" y="315"/>
                      <a:pt x="256" y="315"/>
                      <a:pt x="256" y="315"/>
                    </a:cubicBezTo>
                    <a:cubicBezTo>
                      <a:pt x="258" y="311"/>
                      <a:pt x="262" y="308"/>
                      <a:pt x="267" y="309"/>
                    </a:cubicBezTo>
                    <a:cubicBezTo>
                      <a:pt x="302" y="311"/>
                      <a:pt x="302" y="311"/>
                      <a:pt x="302" y="311"/>
                    </a:cubicBezTo>
                    <a:cubicBezTo>
                      <a:pt x="355" y="317"/>
                      <a:pt x="355" y="317"/>
                      <a:pt x="355" y="317"/>
                    </a:cubicBezTo>
                    <a:cubicBezTo>
                      <a:pt x="359" y="316"/>
                      <a:pt x="359" y="316"/>
                      <a:pt x="359" y="316"/>
                    </a:cubicBezTo>
                    <a:cubicBezTo>
                      <a:pt x="360" y="295"/>
                      <a:pt x="360" y="295"/>
                      <a:pt x="360" y="295"/>
                    </a:cubicBezTo>
                    <a:cubicBezTo>
                      <a:pt x="340" y="299"/>
                      <a:pt x="340" y="299"/>
                      <a:pt x="340" y="299"/>
                    </a:cubicBezTo>
                    <a:cubicBezTo>
                      <a:pt x="336" y="300"/>
                      <a:pt x="333" y="299"/>
                      <a:pt x="330" y="297"/>
                    </a:cubicBezTo>
                    <a:cubicBezTo>
                      <a:pt x="298" y="266"/>
                      <a:pt x="298" y="266"/>
                      <a:pt x="298" y="266"/>
                    </a:cubicBezTo>
                    <a:cubicBezTo>
                      <a:pt x="297" y="266"/>
                      <a:pt x="297" y="266"/>
                      <a:pt x="297" y="266"/>
                    </a:cubicBezTo>
                    <a:cubicBezTo>
                      <a:pt x="297" y="284"/>
                      <a:pt x="297" y="284"/>
                      <a:pt x="297" y="284"/>
                    </a:cubicBezTo>
                    <a:cubicBezTo>
                      <a:pt x="297" y="287"/>
                      <a:pt x="295" y="291"/>
                      <a:pt x="292" y="293"/>
                    </a:cubicBezTo>
                    <a:cubicBezTo>
                      <a:pt x="288" y="294"/>
                      <a:pt x="284" y="294"/>
                      <a:pt x="281" y="292"/>
                    </a:cubicBezTo>
                    <a:cubicBezTo>
                      <a:pt x="267" y="284"/>
                      <a:pt x="267" y="284"/>
                      <a:pt x="267" y="284"/>
                    </a:cubicBezTo>
                    <a:cubicBezTo>
                      <a:pt x="265" y="283"/>
                      <a:pt x="264" y="282"/>
                      <a:pt x="263" y="281"/>
                    </a:cubicBezTo>
                    <a:cubicBezTo>
                      <a:pt x="250" y="262"/>
                      <a:pt x="250" y="262"/>
                      <a:pt x="250" y="262"/>
                    </a:cubicBezTo>
                    <a:cubicBezTo>
                      <a:pt x="250" y="261"/>
                      <a:pt x="250" y="261"/>
                      <a:pt x="250" y="261"/>
                    </a:cubicBezTo>
                    <a:cubicBezTo>
                      <a:pt x="228" y="223"/>
                      <a:pt x="228" y="223"/>
                      <a:pt x="228" y="223"/>
                    </a:cubicBezTo>
                    <a:cubicBezTo>
                      <a:pt x="218" y="227"/>
                      <a:pt x="218" y="227"/>
                      <a:pt x="218" y="227"/>
                    </a:cubicBezTo>
                    <a:cubicBezTo>
                      <a:pt x="247" y="262"/>
                      <a:pt x="247" y="262"/>
                      <a:pt x="247" y="262"/>
                    </a:cubicBezTo>
                    <a:cubicBezTo>
                      <a:pt x="250" y="266"/>
                      <a:pt x="251" y="271"/>
                      <a:pt x="248" y="275"/>
                    </a:cubicBezTo>
                    <a:cubicBezTo>
                      <a:pt x="239" y="287"/>
                      <a:pt x="239" y="287"/>
                      <a:pt x="239" y="287"/>
                    </a:cubicBezTo>
                    <a:cubicBezTo>
                      <a:pt x="236" y="290"/>
                      <a:pt x="232" y="292"/>
                      <a:pt x="228" y="291"/>
                    </a:cubicBezTo>
                    <a:cubicBezTo>
                      <a:pt x="224" y="290"/>
                      <a:pt x="221" y="286"/>
                      <a:pt x="221" y="282"/>
                    </a:cubicBezTo>
                    <a:cubicBezTo>
                      <a:pt x="218" y="267"/>
                      <a:pt x="218" y="267"/>
                      <a:pt x="218" y="267"/>
                    </a:cubicBezTo>
                    <a:cubicBezTo>
                      <a:pt x="193" y="244"/>
                      <a:pt x="193" y="244"/>
                      <a:pt x="193" y="244"/>
                    </a:cubicBezTo>
                    <a:cubicBezTo>
                      <a:pt x="150" y="248"/>
                      <a:pt x="150" y="248"/>
                      <a:pt x="150" y="248"/>
                    </a:cubicBezTo>
                    <a:cubicBezTo>
                      <a:pt x="129" y="279"/>
                      <a:pt x="129" y="279"/>
                      <a:pt x="129" y="279"/>
                    </a:cubicBezTo>
                    <a:cubicBezTo>
                      <a:pt x="128" y="282"/>
                      <a:pt x="125" y="283"/>
                      <a:pt x="123" y="284"/>
                    </a:cubicBezTo>
                    <a:cubicBezTo>
                      <a:pt x="86" y="292"/>
                      <a:pt x="86" y="292"/>
                      <a:pt x="86" y="292"/>
                    </a:cubicBezTo>
                    <a:cubicBezTo>
                      <a:pt x="83" y="293"/>
                      <a:pt x="80" y="292"/>
                      <a:pt x="78" y="290"/>
                    </a:cubicBezTo>
                    <a:cubicBezTo>
                      <a:pt x="75" y="288"/>
                      <a:pt x="74" y="286"/>
                      <a:pt x="74" y="282"/>
                    </a:cubicBezTo>
                    <a:cubicBezTo>
                      <a:pt x="72" y="235"/>
                      <a:pt x="72" y="235"/>
                      <a:pt x="72" y="235"/>
                    </a:cubicBezTo>
                    <a:cubicBezTo>
                      <a:pt x="72" y="233"/>
                      <a:pt x="73" y="230"/>
                      <a:pt x="75" y="228"/>
                    </a:cubicBezTo>
                    <a:cubicBezTo>
                      <a:pt x="77" y="226"/>
                      <a:pt x="80" y="225"/>
                      <a:pt x="83" y="225"/>
                    </a:cubicBezTo>
                    <a:cubicBezTo>
                      <a:pt x="117" y="225"/>
                      <a:pt x="117" y="225"/>
                      <a:pt x="117" y="225"/>
                    </a:cubicBezTo>
                    <a:cubicBezTo>
                      <a:pt x="118" y="217"/>
                      <a:pt x="118" y="217"/>
                      <a:pt x="118" y="217"/>
                    </a:cubicBezTo>
                    <a:cubicBezTo>
                      <a:pt x="108" y="212"/>
                      <a:pt x="108" y="212"/>
                      <a:pt x="108" y="212"/>
                    </a:cubicBezTo>
                    <a:cubicBezTo>
                      <a:pt x="105" y="210"/>
                      <a:pt x="103" y="207"/>
                      <a:pt x="103" y="203"/>
                    </a:cubicBezTo>
                    <a:cubicBezTo>
                      <a:pt x="103" y="200"/>
                      <a:pt x="105" y="196"/>
                      <a:pt x="108" y="194"/>
                    </a:cubicBezTo>
                    <a:cubicBezTo>
                      <a:pt x="128" y="181"/>
                      <a:pt x="128" y="181"/>
                      <a:pt x="128" y="181"/>
                    </a:cubicBezTo>
                    <a:cubicBezTo>
                      <a:pt x="115" y="172"/>
                      <a:pt x="115" y="172"/>
                      <a:pt x="115" y="172"/>
                    </a:cubicBezTo>
                    <a:cubicBezTo>
                      <a:pt x="112" y="170"/>
                      <a:pt x="110" y="166"/>
                      <a:pt x="110" y="162"/>
                    </a:cubicBezTo>
                    <a:cubicBezTo>
                      <a:pt x="111" y="154"/>
                      <a:pt x="111" y="154"/>
                      <a:pt x="111" y="154"/>
                    </a:cubicBezTo>
                    <a:cubicBezTo>
                      <a:pt x="106" y="149"/>
                      <a:pt x="106" y="149"/>
                      <a:pt x="106" y="149"/>
                    </a:cubicBezTo>
                    <a:cubicBezTo>
                      <a:pt x="103" y="145"/>
                      <a:pt x="102" y="140"/>
                      <a:pt x="105" y="136"/>
                    </a:cubicBezTo>
                    <a:cubicBezTo>
                      <a:pt x="114" y="122"/>
                      <a:pt x="114" y="122"/>
                      <a:pt x="114" y="122"/>
                    </a:cubicBezTo>
                    <a:cubicBezTo>
                      <a:pt x="115" y="120"/>
                      <a:pt x="118" y="118"/>
                      <a:pt x="122" y="118"/>
                    </a:cubicBezTo>
                    <a:cubicBezTo>
                      <a:pt x="125" y="118"/>
                      <a:pt x="128" y="119"/>
                      <a:pt x="130" y="122"/>
                    </a:cubicBezTo>
                    <a:cubicBezTo>
                      <a:pt x="160" y="160"/>
                      <a:pt x="160" y="160"/>
                      <a:pt x="160" y="160"/>
                    </a:cubicBezTo>
                    <a:cubicBezTo>
                      <a:pt x="169" y="150"/>
                      <a:pt x="169" y="150"/>
                      <a:pt x="169" y="150"/>
                    </a:cubicBezTo>
                    <a:cubicBezTo>
                      <a:pt x="171" y="148"/>
                      <a:pt x="174" y="147"/>
                      <a:pt x="176" y="147"/>
                    </a:cubicBezTo>
                    <a:cubicBezTo>
                      <a:pt x="199" y="147"/>
                      <a:pt x="199" y="147"/>
                      <a:pt x="199" y="147"/>
                    </a:cubicBezTo>
                    <a:cubicBezTo>
                      <a:pt x="250" y="139"/>
                      <a:pt x="250" y="139"/>
                      <a:pt x="250" y="139"/>
                    </a:cubicBezTo>
                    <a:cubicBezTo>
                      <a:pt x="280" y="120"/>
                      <a:pt x="280" y="120"/>
                      <a:pt x="280" y="120"/>
                    </a:cubicBezTo>
                    <a:cubicBezTo>
                      <a:pt x="261" y="91"/>
                      <a:pt x="261" y="91"/>
                      <a:pt x="261" y="91"/>
                    </a:cubicBezTo>
                    <a:cubicBezTo>
                      <a:pt x="252" y="112"/>
                      <a:pt x="252" y="112"/>
                      <a:pt x="252" y="112"/>
                    </a:cubicBezTo>
                    <a:cubicBezTo>
                      <a:pt x="251" y="113"/>
                      <a:pt x="251" y="114"/>
                      <a:pt x="250" y="115"/>
                    </a:cubicBezTo>
                    <a:cubicBezTo>
                      <a:pt x="233" y="132"/>
                      <a:pt x="233" y="132"/>
                      <a:pt x="233" y="132"/>
                    </a:cubicBezTo>
                    <a:cubicBezTo>
                      <a:pt x="232" y="133"/>
                      <a:pt x="232" y="133"/>
                      <a:pt x="232" y="133"/>
                    </a:cubicBezTo>
                    <a:cubicBezTo>
                      <a:pt x="223" y="140"/>
                      <a:pt x="223" y="140"/>
                      <a:pt x="223" y="140"/>
                    </a:cubicBezTo>
                    <a:cubicBezTo>
                      <a:pt x="220" y="142"/>
                      <a:pt x="215" y="143"/>
                      <a:pt x="212" y="140"/>
                    </a:cubicBezTo>
                    <a:cubicBezTo>
                      <a:pt x="202" y="134"/>
                      <a:pt x="202" y="134"/>
                      <a:pt x="202" y="134"/>
                    </a:cubicBezTo>
                    <a:cubicBezTo>
                      <a:pt x="182" y="137"/>
                      <a:pt x="182" y="137"/>
                      <a:pt x="182" y="137"/>
                    </a:cubicBezTo>
                    <a:cubicBezTo>
                      <a:pt x="177" y="137"/>
                      <a:pt x="172" y="134"/>
                      <a:pt x="171" y="129"/>
                    </a:cubicBezTo>
                    <a:cubicBezTo>
                      <a:pt x="166" y="108"/>
                      <a:pt x="166" y="108"/>
                      <a:pt x="166" y="108"/>
                    </a:cubicBezTo>
                    <a:cubicBezTo>
                      <a:pt x="166" y="105"/>
                      <a:pt x="167" y="101"/>
                      <a:pt x="169" y="99"/>
                    </a:cubicBezTo>
                    <a:cubicBezTo>
                      <a:pt x="221" y="47"/>
                      <a:pt x="221" y="47"/>
                      <a:pt x="221" y="47"/>
                    </a:cubicBezTo>
                    <a:cubicBezTo>
                      <a:pt x="222" y="46"/>
                      <a:pt x="223" y="45"/>
                      <a:pt x="225" y="45"/>
                    </a:cubicBezTo>
                    <a:cubicBezTo>
                      <a:pt x="278" y="30"/>
                      <a:pt x="278" y="30"/>
                      <a:pt x="278" y="30"/>
                    </a:cubicBezTo>
                    <a:cubicBezTo>
                      <a:pt x="278" y="30"/>
                      <a:pt x="279" y="30"/>
                      <a:pt x="279" y="30"/>
                    </a:cubicBezTo>
                    <a:cubicBezTo>
                      <a:pt x="344" y="20"/>
                      <a:pt x="344" y="20"/>
                      <a:pt x="344" y="20"/>
                    </a:cubicBezTo>
                    <a:cubicBezTo>
                      <a:pt x="349" y="19"/>
                      <a:pt x="354" y="22"/>
                      <a:pt x="355" y="27"/>
                    </a:cubicBezTo>
                    <a:cubicBezTo>
                      <a:pt x="359" y="43"/>
                      <a:pt x="359" y="43"/>
                      <a:pt x="359" y="43"/>
                    </a:cubicBezTo>
                    <a:cubicBezTo>
                      <a:pt x="361" y="47"/>
                      <a:pt x="359" y="52"/>
                      <a:pt x="355" y="54"/>
                    </a:cubicBezTo>
                    <a:cubicBezTo>
                      <a:pt x="329" y="72"/>
                      <a:pt x="329" y="72"/>
                      <a:pt x="329" y="72"/>
                    </a:cubicBezTo>
                    <a:cubicBezTo>
                      <a:pt x="331" y="81"/>
                      <a:pt x="331" y="81"/>
                      <a:pt x="331" y="81"/>
                    </a:cubicBezTo>
                    <a:cubicBezTo>
                      <a:pt x="356" y="62"/>
                      <a:pt x="356" y="62"/>
                      <a:pt x="356" y="62"/>
                    </a:cubicBezTo>
                    <a:cubicBezTo>
                      <a:pt x="357" y="61"/>
                      <a:pt x="358" y="61"/>
                      <a:pt x="359" y="60"/>
                    </a:cubicBezTo>
                    <a:cubicBezTo>
                      <a:pt x="389" y="52"/>
                      <a:pt x="389" y="52"/>
                      <a:pt x="389" y="52"/>
                    </a:cubicBezTo>
                    <a:cubicBezTo>
                      <a:pt x="390" y="52"/>
                      <a:pt x="390" y="52"/>
                      <a:pt x="390" y="52"/>
                    </a:cubicBezTo>
                    <a:cubicBezTo>
                      <a:pt x="446" y="43"/>
                      <a:pt x="446" y="43"/>
                      <a:pt x="446" y="43"/>
                    </a:cubicBezTo>
                    <a:cubicBezTo>
                      <a:pt x="447" y="43"/>
                      <a:pt x="448" y="43"/>
                      <a:pt x="448" y="43"/>
                    </a:cubicBezTo>
                    <a:cubicBezTo>
                      <a:pt x="472" y="44"/>
                      <a:pt x="472" y="44"/>
                      <a:pt x="472" y="44"/>
                    </a:cubicBezTo>
                    <a:cubicBezTo>
                      <a:pt x="471" y="41"/>
                      <a:pt x="471" y="36"/>
                      <a:pt x="474" y="33"/>
                    </a:cubicBezTo>
                    <a:cubicBezTo>
                      <a:pt x="493" y="14"/>
                      <a:pt x="493" y="14"/>
                      <a:pt x="493" y="14"/>
                    </a:cubicBezTo>
                    <a:cubicBezTo>
                      <a:pt x="497" y="10"/>
                      <a:pt x="504" y="10"/>
                      <a:pt x="508" y="13"/>
                    </a:cubicBezTo>
                    <a:cubicBezTo>
                      <a:pt x="523" y="28"/>
                      <a:pt x="523" y="28"/>
                      <a:pt x="523" y="28"/>
                    </a:cubicBezTo>
                    <a:cubicBezTo>
                      <a:pt x="580" y="1"/>
                      <a:pt x="580" y="1"/>
                      <a:pt x="580" y="1"/>
                    </a:cubicBezTo>
                    <a:cubicBezTo>
                      <a:pt x="581" y="1"/>
                      <a:pt x="583" y="0"/>
                      <a:pt x="584" y="0"/>
                    </a:cubicBezTo>
                    <a:cubicBezTo>
                      <a:pt x="681" y="0"/>
                      <a:pt x="681" y="0"/>
                      <a:pt x="681" y="0"/>
                    </a:cubicBezTo>
                    <a:cubicBezTo>
                      <a:pt x="687" y="0"/>
                      <a:pt x="691" y="5"/>
                      <a:pt x="691" y="11"/>
                    </a:cubicBezTo>
                    <a:cubicBezTo>
                      <a:pt x="691" y="20"/>
                      <a:pt x="691" y="20"/>
                      <a:pt x="691" y="20"/>
                    </a:cubicBezTo>
                    <a:cubicBezTo>
                      <a:pt x="814" y="33"/>
                      <a:pt x="814" y="33"/>
                      <a:pt x="814" y="33"/>
                    </a:cubicBezTo>
                    <a:cubicBezTo>
                      <a:pt x="854" y="24"/>
                      <a:pt x="854" y="24"/>
                      <a:pt x="854" y="24"/>
                    </a:cubicBezTo>
                    <a:cubicBezTo>
                      <a:pt x="855" y="24"/>
                      <a:pt x="856" y="24"/>
                      <a:pt x="857" y="24"/>
                    </a:cubicBezTo>
                    <a:cubicBezTo>
                      <a:pt x="954" y="35"/>
                      <a:pt x="1100" y="51"/>
                      <a:pt x="1108" y="52"/>
                    </a:cubicBezTo>
                    <a:cubicBezTo>
                      <a:pt x="1110" y="52"/>
                      <a:pt x="1116" y="52"/>
                      <a:pt x="1146" y="64"/>
                    </a:cubicBezTo>
                    <a:cubicBezTo>
                      <a:pt x="1150" y="66"/>
                      <a:pt x="1153" y="71"/>
                      <a:pt x="1152" y="75"/>
                    </a:cubicBezTo>
                    <a:cubicBezTo>
                      <a:pt x="1151" y="80"/>
                      <a:pt x="1147" y="84"/>
                      <a:pt x="1142" y="84"/>
                    </a:cubicBezTo>
                    <a:cubicBezTo>
                      <a:pt x="1109" y="86"/>
                      <a:pt x="1109" y="86"/>
                      <a:pt x="1109" y="86"/>
                    </a:cubicBezTo>
                    <a:cubicBezTo>
                      <a:pt x="1114" y="93"/>
                      <a:pt x="1114" y="93"/>
                      <a:pt x="1114" y="93"/>
                    </a:cubicBezTo>
                    <a:cubicBezTo>
                      <a:pt x="1115" y="96"/>
                      <a:pt x="1116" y="99"/>
                      <a:pt x="1115" y="102"/>
                    </a:cubicBezTo>
                    <a:cubicBezTo>
                      <a:pt x="1114" y="105"/>
                      <a:pt x="1112" y="107"/>
                      <a:pt x="1109" y="108"/>
                    </a:cubicBezTo>
                    <a:cubicBezTo>
                      <a:pt x="1076" y="124"/>
                      <a:pt x="1076" y="124"/>
                      <a:pt x="1076" y="124"/>
                    </a:cubicBezTo>
                    <a:cubicBezTo>
                      <a:pt x="1092" y="149"/>
                      <a:pt x="1092" y="149"/>
                      <a:pt x="1092" y="149"/>
                    </a:cubicBezTo>
                    <a:cubicBezTo>
                      <a:pt x="1094" y="153"/>
                      <a:pt x="1094" y="157"/>
                      <a:pt x="1091" y="161"/>
                    </a:cubicBezTo>
                    <a:cubicBezTo>
                      <a:pt x="1085" y="168"/>
                      <a:pt x="1085" y="168"/>
                      <a:pt x="1085" y="168"/>
                    </a:cubicBezTo>
                    <a:cubicBezTo>
                      <a:pt x="1082" y="172"/>
                      <a:pt x="1076" y="173"/>
                      <a:pt x="1072" y="170"/>
                    </a:cubicBezTo>
                    <a:cubicBezTo>
                      <a:pt x="1038" y="148"/>
                      <a:pt x="1038" y="148"/>
                      <a:pt x="1038" y="148"/>
                    </a:cubicBezTo>
                    <a:cubicBezTo>
                      <a:pt x="1035" y="146"/>
                      <a:pt x="1033" y="143"/>
                      <a:pt x="1033" y="139"/>
                    </a:cubicBezTo>
                    <a:cubicBezTo>
                      <a:pt x="1035" y="113"/>
                      <a:pt x="1035" y="113"/>
                      <a:pt x="1035" y="113"/>
                    </a:cubicBezTo>
                    <a:cubicBezTo>
                      <a:pt x="1010" y="113"/>
                      <a:pt x="1010" y="113"/>
                      <a:pt x="1010" y="113"/>
                    </a:cubicBezTo>
                    <a:cubicBezTo>
                      <a:pt x="1012" y="116"/>
                      <a:pt x="1012" y="120"/>
                      <a:pt x="1010" y="123"/>
                    </a:cubicBezTo>
                    <a:cubicBezTo>
                      <a:pt x="1008" y="126"/>
                      <a:pt x="1005" y="128"/>
                      <a:pt x="1001" y="128"/>
                    </a:cubicBezTo>
                    <a:cubicBezTo>
                      <a:pt x="951" y="128"/>
                      <a:pt x="951" y="128"/>
                      <a:pt x="951" y="128"/>
                    </a:cubicBezTo>
                    <a:cubicBezTo>
                      <a:pt x="940" y="145"/>
                      <a:pt x="940" y="145"/>
                      <a:pt x="940" y="145"/>
                    </a:cubicBezTo>
                    <a:cubicBezTo>
                      <a:pt x="974" y="153"/>
                      <a:pt x="974" y="153"/>
                      <a:pt x="974" y="153"/>
                    </a:cubicBezTo>
                    <a:cubicBezTo>
                      <a:pt x="976" y="154"/>
                      <a:pt x="977" y="154"/>
                      <a:pt x="978" y="156"/>
                    </a:cubicBezTo>
                    <a:cubicBezTo>
                      <a:pt x="1026" y="198"/>
                      <a:pt x="1026" y="198"/>
                      <a:pt x="1026" y="198"/>
                    </a:cubicBezTo>
                    <a:cubicBezTo>
                      <a:pt x="1029" y="201"/>
                      <a:pt x="1030" y="206"/>
                      <a:pt x="1028" y="210"/>
                    </a:cubicBezTo>
                    <a:cubicBezTo>
                      <a:pt x="1027" y="214"/>
                      <a:pt x="1022" y="216"/>
                      <a:pt x="1018" y="216"/>
                    </a:cubicBezTo>
                    <a:cubicBezTo>
                      <a:pt x="995" y="214"/>
                      <a:pt x="995" y="214"/>
                      <a:pt x="995" y="214"/>
                    </a:cubicBezTo>
                    <a:cubicBezTo>
                      <a:pt x="989" y="238"/>
                      <a:pt x="989" y="238"/>
                      <a:pt x="989" y="238"/>
                    </a:cubicBezTo>
                    <a:cubicBezTo>
                      <a:pt x="989" y="238"/>
                      <a:pt x="989" y="239"/>
                      <a:pt x="988" y="239"/>
                    </a:cubicBezTo>
                    <a:cubicBezTo>
                      <a:pt x="978" y="261"/>
                      <a:pt x="978" y="261"/>
                      <a:pt x="978" y="261"/>
                    </a:cubicBezTo>
                    <a:cubicBezTo>
                      <a:pt x="996" y="274"/>
                      <a:pt x="996" y="274"/>
                      <a:pt x="996" y="274"/>
                    </a:cubicBezTo>
                    <a:cubicBezTo>
                      <a:pt x="1000" y="278"/>
                      <a:pt x="1001" y="284"/>
                      <a:pt x="997" y="288"/>
                    </a:cubicBezTo>
                    <a:cubicBezTo>
                      <a:pt x="984" y="306"/>
                      <a:pt x="984" y="306"/>
                      <a:pt x="984" y="306"/>
                    </a:cubicBezTo>
                    <a:cubicBezTo>
                      <a:pt x="982" y="308"/>
                      <a:pt x="980" y="310"/>
                      <a:pt x="977" y="310"/>
                    </a:cubicBezTo>
                    <a:cubicBezTo>
                      <a:pt x="974" y="310"/>
                      <a:pt x="971" y="309"/>
                      <a:pt x="969" y="307"/>
                    </a:cubicBezTo>
                    <a:cubicBezTo>
                      <a:pt x="942" y="281"/>
                      <a:pt x="942" y="281"/>
                      <a:pt x="942" y="281"/>
                    </a:cubicBezTo>
                    <a:cubicBezTo>
                      <a:pt x="942" y="280"/>
                      <a:pt x="942" y="280"/>
                      <a:pt x="942" y="280"/>
                    </a:cubicBezTo>
                    <a:cubicBezTo>
                      <a:pt x="934" y="270"/>
                      <a:pt x="934" y="270"/>
                      <a:pt x="934" y="270"/>
                    </a:cubicBezTo>
                    <a:cubicBezTo>
                      <a:pt x="913" y="269"/>
                      <a:pt x="913" y="269"/>
                      <a:pt x="913" y="269"/>
                    </a:cubicBezTo>
                    <a:cubicBezTo>
                      <a:pt x="911" y="271"/>
                      <a:pt x="911" y="271"/>
                      <a:pt x="911" y="271"/>
                    </a:cubicBezTo>
                    <a:cubicBezTo>
                      <a:pt x="929" y="275"/>
                      <a:pt x="929" y="275"/>
                      <a:pt x="929" y="275"/>
                    </a:cubicBezTo>
                    <a:cubicBezTo>
                      <a:pt x="931" y="276"/>
                      <a:pt x="934" y="277"/>
                      <a:pt x="935" y="280"/>
                    </a:cubicBezTo>
                    <a:cubicBezTo>
                      <a:pt x="936" y="282"/>
                      <a:pt x="937" y="285"/>
                      <a:pt x="936" y="288"/>
                    </a:cubicBezTo>
                    <a:cubicBezTo>
                      <a:pt x="933" y="299"/>
                      <a:pt x="933" y="299"/>
                      <a:pt x="933" y="299"/>
                    </a:cubicBezTo>
                    <a:cubicBezTo>
                      <a:pt x="956" y="327"/>
                      <a:pt x="956" y="327"/>
                      <a:pt x="956" y="327"/>
                    </a:cubicBezTo>
                    <a:cubicBezTo>
                      <a:pt x="958" y="329"/>
                      <a:pt x="959" y="332"/>
                      <a:pt x="958" y="335"/>
                    </a:cubicBezTo>
                    <a:cubicBezTo>
                      <a:pt x="951" y="378"/>
                      <a:pt x="951" y="378"/>
                      <a:pt x="951" y="378"/>
                    </a:cubicBezTo>
                    <a:cubicBezTo>
                      <a:pt x="950" y="381"/>
                      <a:pt x="948" y="384"/>
                      <a:pt x="945" y="385"/>
                    </a:cubicBezTo>
                    <a:cubicBezTo>
                      <a:pt x="887" y="413"/>
                      <a:pt x="887" y="413"/>
                      <a:pt x="887" y="413"/>
                    </a:cubicBezTo>
                    <a:cubicBezTo>
                      <a:pt x="885" y="414"/>
                      <a:pt x="884" y="414"/>
                      <a:pt x="883" y="414"/>
                    </a:cubicBezTo>
                    <a:cubicBezTo>
                      <a:pt x="865" y="416"/>
                      <a:pt x="865" y="416"/>
                      <a:pt x="865" y="416"/>
                    </a:cubicBezTo>
                    <a:cubicBezTo>
                      <a:pt x="865" y="423"/>
                      <a:pt x="865" y="423"/>
                      <a:pt x="865" y="423"/>
                    </a:cubicBezTo>
                    <a:cubicBezTo>
                      <a:pt x="882" y="433"/>
                      <a:pt x="882" y="433"/>
                      <a:pt x="882" y="433"/>
                    </a:cubicBezTo>
                    <a:cubicBezTo>
                      <a:pt x="884" y="435"/>
                      <a:pt x="886" y="437"/>
                      <a:pt x="886" y="440"/>
                    </a:cubicBezTo>
                    <a:cubicBezTo>
                      <a:pt x="887" y="443"/>
                      <a:pt x="891" y="460"/>
                      <a:pt x="891" y="468"/>
                    </a:cubicBezTo>
                    <a:cubicBezTo>
                      <a:pt x="891" y="481"/>
                      <a:pt x="876" y="489"/>
                      <a:pt x="867" y="493"/>
                    </a:cubicBezTo>
                    <a:cubicBezTo>
                      <a:pt x="864" y="494"/>
                      <a:pt x="860" y="494"/>
                      <a:pt x="857" y="492"/>
                    </a:cubicBezTo>
                    <a:cubicBezTo>
                      <a:pt x="843" y="481"/>
                      <a:pt x="843" y="481"/>
                      <a:pt x="843" y="481"/>
                    </a:cubicBezTo>
                    <a:cubicBezTo>
                      <a:pt x="848" y="507"/>
                      <a:pt x="848" y="507"/>
                      <a:pt x="848" y="507"/>
                    </a:cubicBezTo>
                    <a:cubicBezTo>
                      <a:pt x="859" y="537"/>
                      <a:pt x="859" y="537"/>
                      <a:pt x="859" y="537"/>
                    </a:cubicBezTo>
                    <a:cubicBezTo>
                      <a:pt x="859" y="539"/>
                      <a:pt x="860" y="540"/>
                      <a:pt x="860" y="542"/>
                    </a:cubicBezTo>
                    <a:cubicBezTo>
                      <a:pt x="860" y="547"/>
                      <a:pt x="855" y="552"/>
                      <a:pt x="849" y="552"/>
                    </a:cubicBezTo>
                    <a:cubicBezTo>
                      <a:pt x="849" y="552"/>
                      <a:pt x="849" y="552"/>
                      <a:pt x="849" y="552"/>
                    </a:cubicBezTo>
                    <a:cubicBezTo>
                      <a:pt x="847" y="552"/>
                      <a:pt x="844" y="551"/>
                      <a:pt x="842" y="549"/>
                    </a:cubicBezTo>
                    <a:cubicBezTo>
                      <a:pt x="813" y="519"/>
                      <a:pt x="813" y="519"/>
                      <a:pt x="813" y="519"/>
                    </a:cubicBezTo>
                    <a:cubicBezTo>
                      <a:pt x="812" y="518"/>
                      <a:pt x="811" y="516"/>
                      <a:pt x="811" y="514"/>
                    </a:cubicBezTo>
                    <a:cubicBezTo>
                      <a:pt x="805" y="486"/>
                      <a:pt x="805" y="486"/>
                      <a:pt x="805" y="486"/>
                    </a:cubicBezTo>
                    <a:cubicBezTo>
                      <a:pt x="792" y="446"/>
                      <a:pt x="792" y="446"/>
                      <a:pt x="792" y="446"/>
                    </a:cubicBezTo>
                    <a:cubicBezTo>
                      <a:pt x="789" y="446"/>
                      <a:pt x="789" y="446"/>
                      <a:pt x="789" y="446"/>
                    </a:cubicBezTo>
                    <a:cubicBezTo>
                      <a:pt x="785" y="447"/>
                      <a:pt x="780" y="445"/>
                      <a:pt x="778" y="441"/>
                    </a:cubicBezTo>
                    <a:cubicBezTo>
                      <a:pt x="768" y="424"/>
                      <a:pt x="768" y="424"/>
                      <a:pt x="768" y="424"/>
                    </a:cubicBezTo>
                    <a:cubicBezTo>
                      <a:pt x="767" y="423"/>
                      <a:pt x="767" y="423"/>
                      <a:pt x="767" y="423"/>
                    </a:cubicBezTo>
                    <a:cubicBezTo>
                      <a:pt x="758" y="405"/>
                      <a:pt x="758" y="405"/>
                      <a:pt x="758" y="405"/>
                    </a:cubicBezTo>
                    <a:cubicBezTo>
                      <a:pt x="736" y="405"/>
                      <a:pt x="736" y="405"/>
                      <a:pt x="736" y="405"/>
                    </a:cubicBezTo>
                    <a:cubicBezTo>
                      <a:pt x="708" y="441"/>
                      <a:pt x="708" y="441"/>
                      <a:pt x="708" y="441"/>
                    </a:cubicBezTo>
                    <a:cubicBezTo>
                      <a:pt x="708" y="442"/>
                      <a:pt x="707" y="443"/>
                      <a:pt x="705" y="444"/>
                    </a:cubicBezTo>
                    <a:cubicBezTo>
                      <a:pt x="696" y="449"/>
                      <a:pt x="696" y="449"/>
                      <a:pt x="696" y="449"/>
                    </a:cubicBezTo>
                    <a:cubicBezTo>
                      <a:pt x="699" y="453"/>
                      <a:pt x="699" y="453"/>
                      <a:pt x="699" y="453"/>
                    </a:cubicBezTo>
                    <a:cubicBezTo>
                      <a:pt x="700" y="456"/>
                      <a:pt x="701" y="459"/>
                      <a:pt x="700" y="462"/>
                    </a:cubicBezTo>
                    <a:cubicBezTo>
                      <a:pt x="685" y="504"/>
                      <a:pt x="685" y="504"/>
                      <a:pt x="685" y="504"/>
                    </a:cubicBezTo>
                    <a:cubicBezTo>
                      <a:pt x="684" y="507"/>
                      <a:pt x="682" y="509"/>
                      <a:pt x="679" y="510"/>
                    </a:cubicBezTo>
                    <a:cubicBezTo>
                      <a:pt x="676" y="511"/>
                      <a:pt x="673" y="511"/>
                      <a:pt x="670" y="510"/>
                    </a:cubicBezTo>
                    <a:cubicBezTo>
                      <a:pt x="652" y="499"/>
                      <a:pt x="652" y="499"/>
                      <a:pt x="652" y="499"/>
                    </a:cubicBezTo>
                    <a:cubicBezTo>
                      <a:pt x="650" y="498"/>
                      <a:pt x="649" y="496"/>
                      <a:pt x="648" y="493"/>
                    </a:cubicBezTo>
                    <a:cubicBezTo>
                      <a:pt x="635" y="451"/>
                      <a:pt x="635" y="451"/>
                      <a:pt x="635" y="451"/>
                    </a:cubicBezTo>
                    <a:cubicBezTo>
                      <a:pt x="623" y="428"/>
                      <a:pt x="623" y="428"/>
                      <a:pt x="623" y="428"/>
                    </a:cubicBezTo>
                    <a:cubicBezTo>
                      <a:pt x="602" y="408"/>
                      <a:pt x="602" y="408"/>
                      <a:pt x="602" y="408"/>
                    </a:cubicBezTo>
                    <a:cubicBezTo>
                      <a:pt x="602" y="408"/>
                      <a:pt x="601" y="408"/>
                      <a:pt x="601" y="407"/>
                    </a:cubicBezTo>
                    <a:cubicBezTo>
                      <a:pt x="583" y="384"/>
                      <a:pt x="583" y="384"/>
                      <a:pt x="583" y="384"/>
                    </a:cubicBezTo>
                    <a:cubicBezTo>
                      <a:pt x="534" y="359"/>
                      <a:pt x="534" y="359"/>
                      <a:pt x="534" y="359"/>
                    </a:cubicBezTo>
                    <a:cubicBezTo>
                      <a:pt x="469" y="346"/>
                      <a:pt x="469" y="346"/>
                      <a:pt x="469" y="346"/>
                    </a:cubicBezTo>
                    <a:cubicBezTo>
                      <a:pt x="464" y="350"/>
                      <a:pt x="464" y="350"/>
                      <a:pt x="464" y="350"/>
                    </a:cubicBezTo>
                    <a:cubicBezTo>
                      <a:pt x="484" y="372"/>
                      <a:pt x="484" y="372"/>
                      <a:pt x="484" y="372"/>
                    </a:cubicBezTo>
                    <a:cubicBezTo>
                      <a:pt x="508" y="372"/>
                      <a:pt x="508" y="372"/>
                      <a:pt x="508" y="372"/>
                    </a:cubicBezTo>
                    <a:cubicBezTo>
                      <a:pt x="509" y="372"/>
                      <a:pt x="511" y="372"/>
                      <a:pt x="512" y="373"/>
                    </a:cubicBezTo>
                    <a:cubicBezTo>
                      <a:pt x="542" y="386"/>
                      <a:pt x="542" y="386"/>
                      <a:pt x="542" y="386"/>
                    </a:cubicBezTo>
                    <a:cubicBezTo>
                      <a:pt x="545" y="387"/>
                      <a:pt x="547" y="390"/>
                      <a:pt x="547" y="393"/>
                    </a:cubicBezTo>
                    <a:cubicBezTo>
                      <a:pt x="548" y="396"/>
                      <a:pt x="547" y="399"/>
                      <a:pt x="545" y="402"/>
                    </a:cubicBezTo>
                    <a:cubicBezTo>
                      <a:pt x="510" y="442"/>
                      <a:pt x="510" y="442"/>
                      <a:pt x="510" y="442"/>
                    </a:cubicBezTo>
                    <a:cubicBezTo>
                      <a:pt x="508" y="443"/>
                      <a:pt x="507" y="444"/>
                      <a:pt x="505" y="445"/>
                    </a:cubicBezTo>
                    <a:cubicBezTo>
                      <a:pt x="440" y="461"/>
                      <a:pt x="440" y="461"/>
                      <a:pt x="440" y="461"/>
                    </a:cubicBezTo>
                    <a:cubicBezTo>
                      <a:pt x="436" y="462"/>
                      <a:pt x="431" y="460"/>
                      <a:pt x="428" y="456"/>
                    </a:cubicBezTo>
                    <a:cubicBezTo>
                      <a:pt x="379" y="362"/>
                      <a:pt x="379" y="362"/>
                      <a:pt x="379" y="362"/>
                    </a:cubicBezTo>
                    <a:cubicBezTo>
                      <a:pt x="366" y="370"/>
                      <a:pt x="366" y="370"/>
                      <a:pt x="366" y="370"/>
                    </a:cubicBezTo>
                    <a:cubicBezTo>
                      <a:pt x="433" y="476"/>
                      <a:pt x="433" y="476"/>
                      <a:pt x="433" y="476"/>
                    </a:cubicBezTo>
                    <a:cubicBezTo>
                      <a:pt x="487" y="459"/>
                      <a:pt x="487" y="459"/>
                      <a:pt x="487" y="459"/>
                    </a:cubicBezTo>
                    <a:cubicBezTo>
                      <a:pt x="490" y="458"/>
                      <a:pt x="494" y="458"/>
                      <a:pt x="496" y="460"/>
                    </a:cubicBezTo>
                    <a:cubicBezTo>
                      <a:pt x="499" y="462"/>
                      <a:pt x="501" y="465"/>
                      <a:pt x="501" y="468"/>
                    </a:cubicBezTo>
                    <a:cubicBezTo>
                      <a:pt x="501" y="477"/>
                      <a:pt x="501" y="477"/>
                      <a:pt x="501" y="477"/>
                    </a:cubicBezTo>
                    <a:cubicBezTo>
                      <a:pt x="501" y="478"/>
                      <a:pt x="500" y="480"/>
                      <a:pt x="500" y="481"/>
                    </a:cubicBezTo>
                    <a:cubicBezTo>
                      <a:pt x="480" y="539"/>
                      <a:pt x="480" y="539"/>
                      <a:pt x="480" y="539"/>
                    </a:cubicBezTo>
                    <a:cubicBezTo>
                      <a:pt x="479" y="542"/>
                      <a:pt x="477" y="544"/>
                      <a:pt x="475" y="545"/>
                    </a:cubicBezTo>
                    <a:cubicBezTo>
                      <a:pt x="443" y="563"/>
                      <a:pt x="443" y="563"/>
                      <a:pt x="443" y="563"/>
                    </a:cubicBezTo>
                    <a:cubicBezTo>
                      <a:pt x="417" y="610"/>
                      <a:pt x="417" y="610"/>
                      <a:pt x="417" y="610"/>
                    </a:cubicBezTo>
                    <a:cubicBezTo>
                      <a:pt x="420" y="631"/>
                      <a:pt x="420" y="631"/>
                      <a:pt x="420" y="631"/>
                    </a:cubicBezTo>
                    <a:cubicBezTo>
                      <a:pt x="429" y="676"/>
                      <a:pt x="429" y="676"/>
                      <a:pt x="429" y="676"/>
                    </a:cubicBezTo>
                    <a:cubicBezTo>
                      <a:pt x="429" y="680"/>
                      <a:pt x="428" y="683"/>
                      <a:pt x="426" y="686"/>
                    </a:cubicBezTo>
                    <a:cubicBezTo>
                      <a:pt x="389" y="720"/>
                      <a:pt x="389" y="720"/>
                      <a:pt x="389" y="720"/>
                    </a:cubicBezTo>
                    <a:cubicBezTo>
                      <a:pt x="394" y="729"/>
                      <a:pt x="394" y="729"/>
                      <a:pt x="394" y="729"/>
                    </a:cubicBezTo>
                    <a:cubicBezTo>
                      <a:pt x="396" y="733"/>
                      <a:pt x="395" y="738"/>
                      <a:pt x="392" y="741"/>
                    </a:cubicBezTo>
                    <a:cubicBezTo>
                      <a:pt x="313" y="826"/>
                      <a:pt x="313" y="826"/>
                      <a:pt x="313" y="826"/>
                    </a:cubicBezTo>
                    <a:cubicBezTo>
                      <a:pt x="311" y="828"/>
                      <a:pt x="308" y="829"/>
                      <a:pt x="306" y="829"/>
                    </a:cubicBezTo>
                    <a:moveTo>
                      <a:pt x="1054" y="135"/>
                    </a:moveTo>
                    <a:cubicBezTo>
                      <a:pt x="1062" y="139"/>
                      <a:pt x="1062" y="139"/>
                      <a:pt x="1062" y="139"/>
                    </a:cubicBezTo>
                    <a:cubicBezTo>
                      <a:pt x="1055" y="128"/>
                      <a:pt x="1055" y="128"/>
                      <a:pt x="1055" y="128"/>
                    </a:cubicBezTo>
                    <a:cubicBezTo>
                      <a:pt x="1054" y="135"/>
                      <a:pt x="1054" y="135"/>
                      <a:pt x="1054" y="135"/>
                    </a:cubicBezTo>
                  </a:path>
                </a:pathLst>
              </a:custGeom>
              <a:solidFill>
                <a:srgbClr val="E1E1E1"/>
              </a:solidFill>
              <a:ln>
                <a:noFill/>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 name="Freeform 17">
                <a:extLst>
                  <a:ext uri="{FF2B5EF4-FFF2-40B4-BE49-F238E27FC236}">
                    <a16:creationId xmlns:a16="http://schemas.microsoft.com/office/drawing/2014/main" id="{2195EDC6-5CAC-4694-832A-DFBEEF99243A}"/>
                  </a:ext>
                </a:extLst>
              </p:cNvPr>
              <p:cNvSpPr>
                <a:spLocks noEditPoints="1"/>
              </p:cNvSpPr>
              <p:nvPr/>
            </p:nvSpPr>
            <p:spPr bwMode="auto">
              <a:xfrm>
                <a:off x="3095757" y="5450213"/>
                <a:ext cx="70688" cy="91307"/>
              </a:xfrm>
              <a:custGeom>
                <a:avLst/>
                <a:gdLst>
                  <a:gd name="T0" fmla="*/ 43 w 53"/>
                  <a:gd name="T1" fmla="*/ 66 h 66"/>
                  <a:gd name="T2" fmla="*/ 42 w 53"/>
                  <a:gd name="T3" fmla="*/ 66 h 66"/>
                  <a:gd name="T4" fmla="*/ 9 w 53"/>
                  <a:gd name="T5" fmla="*/ 64 h 66"/>
                  <a:gd name="T6" fmla="*/ 2 w 53"/>
                  <a:gd name="T7" fmla="*/ 60 h 66"/>
                  <a:gd name="T8" fmla="*/ 0 w 53"/>
                  <a:gd name="T9" fmla="*/ 53 h 66"/>
                  <a:gd name="T10" fmla="*/ 4 w 53"/>
                  <a:gd name="T11" fmla="*/ 10 h 66"/>
                  <a:gd name="T12" fmla="*/ 12 w 53"/>
                  <a:gd name="T13" fmla="*/ 1 h 66"/>
                  <a:gd name="T14" fmla="*/ 23 w 53"/>
                  <a:gd name="T15" fmla="*/ 5 h 66"/>
                  <a:gd name="T16" fmla="*/ 51 w 53"/>
                  <a:gd name="T17" fmla="*/ 50 h 66"/>
                  <a:gd name="T18" fmla="*/ 53 w 53"/>
                  <a:gd name="T19" fmla="*/ 56 h 66"/>
                  <a:gd name="T20" fmla="*/ 43 w 53"/>
                  <a:gd name="T21" fmla="*/ 66 h 66"/>
                  <a:gd name="T22" fmla="*/ 21 w 53"/>
                  <a:gd name="T23" fmla="*/ 44 h 66"/>
                  <a:gd name="T24" fmla="*/ 23 w 53"/>
                  <a:gd name="T25" fmla="*/ 44 h 66"/>
                  <a:gd name="T26" fmla="*/ 22 w 53"/>
                  <a:gd name="T27" fmla="*/ 42 h 66"/>
                  <a:gd name="T28" fmla="*/ 21 w 53"/>
                  <a:gd name="T29"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66">
                    <a:moveTo>
                      <a:pt x="43" y="66"/>
                    </a:moveTo>
                    <a:cubicBezTo>
                      <a:pt x="42" y="66"/>
                      <a:pt x="42" y="66"/>
                      <a:pt x="42" y="66"/>
                    </a:cubicBezTo>
                    <a:cubicBezTo>
                      <a:pt x="9" y="64"/>
                      <a:pt x="9" y="64"/>
                      <a:pt x="9" y="64"/>
                    </a:cubicBezTo>
                    <a:cubicBezTo>
                      <a:pt x="7" y="64"/>
                      <a:pt x="4" y="62"/>
                      <a:pt x="2" y="60"/>
                    </a:cubicBezTo>
                    <a:cubicBezTo>
                      <a:pt x="1" y="58"/>
                      <a:pt x="0" y="55"/>
                      <a:pt x="0" y="53"/>
                    </a:cubicBezTo>
                    <a:cubicBezTo>
                      <a:pt x="4" y="10"/>
                      <a:pt x="4" y="10"/>
                      <a:pt x="4" y="10"/>
                    </a:cubicBezTo>
                    <a:cubicBezTo>
                      <a:pt x="4" y="6"/>
                      <a:pt x="8" y="2"/>
                      <a:pt x="12" y="1"/>
                    </a:cubicBezTo>
                    <a:cubicBezTo>
                      <a:pt x="16" y="0"/>
                      <a:pt x="21" y="2"/>
                      <a:pt x="23" y="5"/>
                    </a:cubicBezTo>
                    <a:cubicBezTo>
                      <a:pt x="51" y="50"/>
                      <a:pt x="51" y="50"/>
                      <a:pt x="51" y="50"/>
                    </a:cubicBezTo>
                    <a:cubicBezTo>
                      <a:pt x="52" y="52"/>
                      <a:pt x="53" y="54"/>
                      <a:pt x="53" y="56"/>
                    </a:cubicBezTo>
                    <a:cubicBezTo>
                      <a:pt x="53" y="62"/>
                      <a:pt x="48" y="66"/>
                      <a:pt x="43" y="66"/>
                    </a:cubicBezTo>
                    <a:close/>
                    <a:moveTo>
                      <a:pt x="21" y="44"/>
                    </a:moveTo>
                    <a:cubicBezTo>
                      <a:pt x="23" y="44"/>
                      <a:pt x="23" y="44"/>
                      <a:pt x="23" y="44"/>
                    </a:cubicBezTo>
                    <a:cubicBezTo>
                      <a:pt x="22" y="42"/>
                      <a:pt x="22" y="42"/>
                      <a:pt x="22" y="42"/>
                    </a:cubicBezTo>
                    <a:lnTo>
                      <a:pt x="21" y="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 name="Freeform: Shape 20">
                <a:extLst>
                  <a:ext uri="{FF2B5EF4-FFF2-40B4-BE49-F238E27FC236}">
                    <a16:creationId xmlns:a16="http://schemas.microsoft.com/office/drawing/2014/main" id="{1ACFCE7F-4A68-4BF0-B55C-7AB8D88280BB}"/>
                  </a:ext>
                </a:extLst>
              </p:cNvPr>
              <p:cNvSpPr>
                <a:spLocks/>
              </p:cNvSpPr>
              <p:nvPr/>
            </p:nvSpPr>
            <p:spPr bwMode="auto">
              <a:xfrm>
                <a:off x="1201900" y="5144740"/>
                <a:ext cx="2259925" cy="1038862"/>
              </a:xfrm>
              <a:custGeom>
                <a:avLst/>
                <a:gdLst>
                  <a:gd name="connsiteX0" fmla="*/ 1974262 w 2259925"/>
                  <a:gd name="connsiteY0" fmla="*/ 960697 h 1038862"/>
                  <a:gd name="connsiteX1" fmla="*/ 1995469 w 2259925"/>
                  <a:gd name="connsiteY1" fmla="*/ 963415 h 1038862"/>
                  <a:gd name="connsiteX2" fmla="*/ 2006072 w 2259925"/>
                  <a:gd name="connsiteY2" fmla="*/ 972931 h 1038862"/>
                  <a:gd name="connsiteX3" fmla="*/ 2003421 w 2259925"/>
                  <a:gd name="connsiteY3" fmla="*/ 987884 h 1038862"/>
                  <a:gd name="connsiteX4" fmla="*/ 1983540 w 2259925"/>
                  <a:gd name="connsiteY4" fmla="*/ 1008275 h 1038862"/>
                  <a:gd name="connsiteX5" fmla="*/ 1972937 w 2259925"/>
                  <a:gd name="connsiteY5" fmla="*/ 1012353 h 1038862"/>
                  <a:gd name="connsiteX6" fmla="*/ 1968961 w 2259925"/>
                  <a:gd name="connsiteY6" fmla="*/ 1010994 h 1038862"/>
                  <a:gd name="connsiteX7" fmla="*/ 1959683 w 2259925"/>
                  <a:gd name="connsiteY7" fmla="*/ 1000119 h 1038862"/>
                  <a:gd name="connsiteX8" fmla="*/ 1955707 w 2259925"/>
                  <a:gd name="connsiteY8" fmla="*/ 977009 h 1038862"/>
                  <a:gd name="connsiteX9" fmla="*/ 1961008 w 2259925"/>
                  <a:gd name="connsiteY9" fmla="*/ 963415 h 1038862"/>
                  <a:gd name="connsiteX10" fmla="*/ 1974262 w 2259925"/>
                  <a:gd name="connsiteY10" fmla="*/ 960697 h 1038862"/>
                  <a:gd name="connsiteX11" fmla="*/ 2161818 w 2259925"/>
                  <a:gd name="connsiteY11" fmla="*/ 954802 h 1038862"/>
                  <a:gd name="connsiteX12" fmla="*/ 2169886 w 2259925"/>
                  <a:gd name="connsiteY12" fmla="*/ 962937 h 1038862"/>
                  <a:gd name="connsiteX13" fmla="*/ 2173920 w 2259925"/>
                  <a:gd name="connsiteY13" fmla="*/ 979207 h 1038862"/>
                  <a:gd name="connsiteX14" fmla="*/ 2167197 w 2259925"/>
                  <a:gd name="connsiteY14" fmla="*/ 995476 h 1038862"/>
                  <a:gd name="connsiteX15" fmla="*/ 2074419 w 2259925"/>
                  <a:gd name="connsiteY15" fmla="*/ 1037506 h 1038862"/>
                  <a:gd name="connsiteX16" fmla="*/ 2069040 w 2259925"/>
                  <a:gd name="connsiteY16" fmla="*/ 1038862 h 1038862"/>
                  <a:gd name="connsiteX17" fmla="*/ 2056939 w 2259925"/>
                  <a:gd name="connsiteY17" fmla="*/ 1032083 h 1038862"/>
                  <a:gd name="connsiteX18" fmla="*/ 2060973 w 2259925"/>
                  <a:gd name="connsiteY18" fmla="*/ 1013102 h 1038862"/>
                  <a:gd name="connsiteX19" fmla="*/ 2149717 w 2259925"/>
                  <a:gd name="connsiteY19" fmla="*/ 956158 h 1038862"/>
                  <a:gd name="connsiteX20" fmla="*/ 2161818 w 2259925"/>
                  <a:gd name="connsiteY20" fmla="*/ 954802 h 1038862"/>
                  <a:gd name="connsiteX21" fmla="*/ 2226681 w 2259925"/>
                  <a:gd name="connsiteY21" fmla="*/ 892949 h 1038862"/>
                  <a:gd name="connsiteX22" fmla="*/ 2238730 w 2259925"/>
                  <a:gd name="connsiteY22" fmla="*/ 902439 h 1038862"/>
                  <a:gd name="connsiteX23" fmla="*/ 2242747 w 2259925"/>
                  <a:gd name="connsiteY23" fmla="*/ 917353 h 1038862"/>
                  <a:gd name="connsiteX24" fmla="*/ 2254796 w 2259925"/>
                  <a:gd name="connsiteY24" fmla="*/ 926844 h 1038862"/>
                  <a:gd name="connsiteX25" fmla="*/ 2249441 w 2259925"/>
                  <a:gd name="connsiteY25" fmla="*/ 943114 h 1038862"/>
                  <a:gd name="connsiteX26" fmla="*/ 2205260 w 2259925"/>
                  <a:gd name="connsiteY26" fmla="*/ 974298 h 1038862"/>
                  <a:gd name="connsiteX27" fmla="*/ 2197227 w 2259925"/>
                  <a:gd name="connsiteY27" fmla="*/ 977009 h 1038862"/>
                  <a:gd name="connsiteX28" fmla="*/ 2189194 w 2259925"/>
                  <a:gd name="connsiteY28" fmla="*/ 974298 h 1038862"/>
                  <a:gd name="connsiteX29" fmla="*/ 2185178 w 2259925"/>
                  <a:gd name="connsiteY29" fmla="*/ 956672 h 1038862"/>
                  <a:gd name="connsiteX30" fmla="*/ 2213293 w 2259925"/>
                  <a:gd name="connsiteY30" fmla="*/ 899728 h 1038862"/>
                  <a:gd name="connsiteX31" fmla="*/ 2226681 w 2259925"/>
                  <a:gd name="connsiteY31" fmla="*/ 892949 h 1038862"/>
                  <a:gd name="connsiteX32" fmla="*/ 1932483 w 2259925"/>
                  <a:gd name="connsiteY32" fmla="*/ 653021 h 1038862"/>
                  <a:gd name="connsiteX33" fmla="*/ 1984111 w 2259925"/>
                  <a:gd name="connsiteY33" fmla="*/ 657093 h 1038862"/>
                  <a:gd name="connsiteX34" fmla="*/ 1993621 w 2259925"/>
                  <a:gd name="connsiteY34" fmla="*/ 663879 h 1038862"/>
                  <a:gd name="connsiteX35" fmla="*/ 1996338 w 2259925"/>
                  <a:gd name="connsiteY35" fmla="*/ 676095 h 1038862"/>
                  <a:gd name="connsiteX36" fmla="*/ 1992263 w 2259925"/>
                  <a:gd name="connsiteY36" fmla="*/ 685596 h 1038862"/>
                  <a:gd name="connsiteX37" fmla="*/ 2011283 w 2259925"/>
                  <a:gd name="connsiteY37" fmla="*/ 692382 h 1038862"/>
                  <a:gd name="connsiteX38" fmla="*/ 2028946 w 2259925"/>
                  <a:gd name="connsiteY38" fmla="*/ 659807 h 1038862"/>
                  <a:gd name="connsiteX39" fmla="*/ 2039815 w 2259925"/>
                  <a:gd name="connsiteY39" fmla="*/ 653021 h 1038862"/>
                  <a:gd name="connsiteX40" fmla="*/ 2050684 w 2259925"/>
                  <a:gd name="connsiteY40" fmla="*/ 657093 h 1038862"/>
                  <a:gd name="connsiteX41" fmla="*/ 2073780 w 2259925"/>
                  <a:gd name="connsiteY41" fmla="*/ 677452 h 1038862"/>
                  <a:gd name="connsiteX42" fmla="*/ 2079215 w 2259925"/>
                  <a:gd name="connsiteY42" fmla="*/ 684239 h 1038862"/>
                  <a:gd name="connsiteX43" fmla="*/ 2088725 w 2259925"/>
                  <a:gd name="connsiteY43" fmla="*/ 734459 h 1038862"/>
                  <a:gd name="connsiteX44" fmla="*/ 2125408 w 2259925"/>
                  <a:gd name="connsiteY44" fmla="*/ 791465 h 1038862"/>
                  <a:gd name="connsiteX45" fmla="*/ 2126767 w 2259925"/>
                  <a:gd name="connsiteY45" fmla="*/ 806396 h 1038862"/>
                  <a:gd name="connsiteX46" fmla="*/ 2087367 w 2259925"/>
                  <a:gd name="connsiteY46" fmla="*/ 883762 h 1038862"/>
                  <a:gd name="connsiteX47" fmla="*/ 2083291 w 2259925"/>
                  <a:gd name="connsiteY47" fmla="*/ 887834 h 1038862"/>
                  <a:gd name="connsiteX48" fmla="*/ 2034380 w 2259925"/>
                  <a:gd name="connsiteY48" fmla="*/ 929910 h 1038862"/>
                  <a:gd name="connsiteX49" fmla="*/ 2028946 w 2259925"/>
                  <a:gd name="connsiteY49" fmla="*/ 932625 h 1038862"/>
                  <a:gd name="connsiteX50" fmla="*/ 1982752 w 2259925"/>
                  <a:gd name="connsiteY50" fmla="*/ 947555 h 1038862"/>
                  <a:gd name="connsiteX51" fmla="*/ 1978676 w 2259925"/>
                  <a:gd name="connsiteY51" fmla="*/ 947555 h 1038862"/>
                  <a:gd name="connsiteX52" fmla="*/ 1973242 w 2259925"/>
                  <a:gd name="connsiteY52" fmla="*/ 946198 h 1038862"/>
                  <a:gd name="connsiteX53" fmla="*/ 1933841 w 2259925"/>
                  <a:gd name="connsiteY53" fmla="*/ 919052 h 1038862"/>
                  <a:gd name="connsiteX54" fmla="*/ 1917538 w 2259925"/>
                  <a:gd name="connsiteY54" fmla="*/ 891905 h 1038862"/>
                  <a:gd name="connsiteX55" fmla="*/ 1883572 w 2259925"/>
                  <a:gd name="connsiteY55" fmla="*/ 864759 h 1038862"/>
                  <a:gd name="connsiteX56" fmla="*/ 1814282 w 2259925"/>
                  <a:gd name="connsiteY56" fmla="*/ 900050 h 1038862"/>
                  <a:gd name="connsiteX57" fmla="*/ 1808847 w 2259925"/>
                  <a:gd name="connsiteY57" fmla="*/ 901407 h 1038862"/>
                  <a:gd name="connsiteX58" fmla="*/ 1740916 w 2259925"/>
                  <a:gd name="connsiteY58" fmla="*/ 905479 h 1038862"/>
                  <a:gd name="connsiteX59" fmla="*/ 1728688 w 2259925"/>
                  <a:gd name="connsiteY59" fmla="*/ 898692 h 1038862"/>
                  <a:gd name="connsiteX60" fmla="*/ 1727330 w 2259925"/>
                  <a:gd name="connsiteY60" fmla="*/ 885119 h 1038862"/>
                  <a:gd name="connsiteX61" fmla="*/ 1736840 w 2259925"/>
                  <a:gd name="connsiteY61" fmla="*/ 867474 h 1038862"/>
                  <a:gd name="connsiteX62" fmla="*/ 1743633 w 2259925"/>
                  <a:gd name="connsiteY62" fmla="*/ 762962 h 1038862"/>
                  <a:gd name="connsiteX63" fmla="*/ 1754502 w 2259925"/>
                  <a:gd name="connsiteY63" fmla="*/ 750746 h 1038862"/>
                  <a:gd name="connsiteX64" fmla="*/ 1810206 w 2259925"/>
                  <a:gd name="connsiteY64" fmla="*/ 735816 h 1038862"/>
                  <a:gd name="connsiteX65" fmla="*/ 1827868 w 2259925"/>
                  <a:gd name="connsiteY65" fmla="*/ 716814 h 1038862"/>
                  <a:gd name="connsiteX66" fmla="*/ 1829227 w 2259925"/>
                  <a:gd name="connsiteY66" fmla="*/ 715457 h 1038862"/>
                  <a:gd name="connsiteX67" fmla="*/ 1882213 w 2259925"/>
                  <a:gd name="connsiteY67" fmla="*/ 676095 h 1038862"/>
                  <a:gd name="connsiteX68" fmla="*/ 1897158 w 2259925"/>
                  <a:gd name="connsiteY68" fmla="*/ 674738 h 1038862"/>
                  <a:gd name="connsiteX69" fmla="*/ 1909386 w 2259925"/>
                  <a:gd name="connsiteY69" fmla="*/ 681524 h 1038862"/>
                  <a:gd name="connsiteX70" fmla="*/ 1917538 w 2259925"/>
                  <a:gd name="connsiteY70" fmla="*/ 661165 h 1038862"/>
                  <a:gd name="connsiteX71" fmla="*/ 1932483 w 2259925"/>
                  <a:gd name="connsiteY71" fmla="*/ 653021 h 1038862"/>
                  <a:gd name="connsiteX72" fmla="*/ 1240163 w 2259925"/>
                  <a:gd name="connsiteY72" fmla="*/ 639645 h 1038862"/>
                  <a:gd name="connsiteX73" fmla="*/ 1249426 w 2259925"/>
                  <a:gd name="connsiteY73" fmla="*/ 650445 h 1038862"/>
                  <a:gd name="connsiteX74" fmla="*/ 1254719 w 2259925"/>
                  <a:gd name="connsiteY74" fmla="*/ 677444 h 1038862"/>
                  <a:gd name="connsiteX75" fmla="*/ 1253396 w 2259925"/>
                  <a:gd name="connsiteY75" fmla="*/ 684194 h 1038862"/>
                  <a:gd name="connsiteX76" fmla="*/ 1220314 w 2259925"/>
                  <a:gd name="connsiteY76" fmla="*/ 790841 h 1038862"/>
                  <a:gd name="connsiteX77" fmla="*/ 1212374 w 2259925"/>
                  <a:gd name="connsiteY77" fmla="*/ 800290 h 1038862"/>
                  <a:gd name="connsiteX78" fmla="*/ 1207081 w 2259925"/>
                  <a:gd name="connsiteY78" fmla="*/ 800290 h 1038862"/>
                  <a:gd name="connsiteX79" fmla="*/ 1200464 w 2259925"/>
                  <a:gd name="connsiteY79" fmla="*/ 798940 h 1038862"/>
                  <a:gd name="connsiteX80" fmla="*/ 1171352 w 2259925"/>
                  <a:gd name="connsiteY80" fmla="*/ 780041 h 1038862"/>
                  <a:gd name="connsiteX81" fmla="*/ 1167382 w 2259925"/>
                  <a:gd name="connsiteY81" fmla="*/ 762491 h 1038862"/>
                  <a:gd name="connsiteX82" fmla="*/ 1173998 w 2259925"/>
                  <a:gd name="connsiteY82" fmla="*/ 747642 h 1038862"/>
                  <a:gd name="connsiteX83" fmla="*/ 1177968 w 2259925"/>
                  <a:gd name="connsiteY83" fmla="*/ 708493 h 1038862"/>
                  <a:gd name="connsiteX84" fmla="*/ 1180615 w 2259925"/>
                  <a:gd name="connsiteY84" fmla="*/ 703093 h 1038862"/>
                  <a:gd name="connsiteX85" fmla="*/ 1193848 w 2259925"/>
                  <a:gd name="connsiteY85" fmla="*/ 681494 h 1038862"/>
                  <a:gd name="connsiteX86" fmla="*/ 1195171 w 2259925"/>
                  <a:gd name="connsiteY86" fmla="*/ 680144 h 1038862"/>
                  <a:gd name="connsiteX87" fmla="*/ 1225607 w 2259925"/>
                  <a:gd name="connsiteY87" fmla="*/ 643695 h 1038862"/>
                  <a:gd name="connsiteX88" fmla="*/ 1240163 w 2259925"/>
                  <a:gd name="connsiteY88" fmla="*/ 639645 h 1038862"/>
                  <a:gd name="connsiteX89" fmla="*/ 1873160 w 2259925"/>
                  <a:gd name="connsiteY89" fmla="*/ 595523 h 1038862"/>
                  <a:gd name="connsiteX90" fmla="*/ 1892106 w 2259925"/>
                  <a:gd name="connsiteY90" fmla="*/ 598340 h 1038862"/>
                  <a:gd name="connsiteX91" fmla="*/ 1904286 w 2259925"/>
                  <a:gd name="connsiteY91" fmla="*/ 613836 h 1038862"/>
                  <a:gd name="connsiteX92" fmla="*/ 1890753 w 2259925"/>
                  <a:gd name="connsiteY92" fmla="*/ 626514 h 1038862"/>
                  <a:gd name="connsiteX93" fmla="*/ 1889399 w 2259925"/>
                  <a:gd name="connsiteY93" fmla="*/ 626514 h 1038862"/>
                  <a:gd name="connsiteX94" fmla="*/ 1869100 w 2259925"/>
                  <a:gd name="connsiteY94" fmla="*/ 623697 h 1038862"/>
                  <a:gd name="connsiteX95" fmla="*/ 1856920 w 2259925"/>
                  <a:gd name="connsiteY95" fmla="*/ 608201 h 1038862"/>
                  <a:gd name="connsiteX96" fmla="*/ 1873160 w 2259925"/>
                  <a:gd name="connsiteY96" fmla="*/ 595523 h 1038862"/>
                  <a:gd name="connsiteX97" fmla="*/ 1786237 w 2259925"/>
                  <a:gd name="connsiteY97" fmla="*/ 576258 h 1038862"/>
                  <a:gd name="connsiteX98" fmla="*/ 1843331 w 2259925"/>
                  <a:gd name="connsiteY98" fmla="*/ 590064 h 1038862"/>
                  <a:gd name="connsiteX99" fmla="*/ 1854206 w 2259925"/>
                  <a:gd name="connsiteY99" fmla="*/ 606632 h 1038862"/>
                  <a:gd name="connsiteX100" fmla="*/ 1840613 w 2259925"/>
                  <a:gd name="connsiteY100" fmla="*/ 617677 h 1038862"/>
                  <a:gd name="connsiteX101" fmla="*/ 1836534 w 2259925"/>
                  <a:gd name="connsiteY101" fmla="*/ 617677 h 1038862"/>
                  <a:gd name="connsiteX102" fmla="*/ 1779440 w 2259925"/>
                  <a:gd name="connsiteY102" fmla="*/ 603871 h 1038862"/>
                  <a:gd name="connsiteX103" fmla="*/ 1768565 w 2259925"/>
                  <a:gd name="connsiteY103" fmla="*/ 585922 h 1038862"/>
                  <a:gd name="connsiteX104" fmla="*/ 1786237 w 2259925"/>
                  <a:gd name="connsiteY104" fmla="*/ 576258 h 1038862"/>
                  <a:gd name="connsiteX105" fmla="*/ 2161884 w 2259925"/>
                  <a:gd name="connsiteY105" fmla="*/ 536749 h 1038862"/>
                  <a:gd name="connsiteX106" fmla="*/ 2172106 w 2259925"/>
                  <a:gd name="connsiteY106" fmla="*/ 540687 h 1038862"/>
                  <a:gd name="connsiteX107" fmla="*/ 2187353 w 2259925"/>
                  <a:gd name="connsiteY107" fmla="*/ 553017 h 1038862"/>
                  <a:gd name="connsiteX108" fmla="*/ 2190125 w 2259925"/>
                  <a:gd name="connsiteY108" fmla="*/ 570826 h 1038862"/>
                  <a:gd name="connsiteX109" fmla="*/ 2186633 w 2259925"/>
                  <a:gd name="connsiteY109" fmla="*/ 577154 h 1038862"/>
                  <a:gd name="connsiteX110" fmla="*/ 2196384 w 2259925"/>
                  <a:gd name="connsiteY110" fmla="*/ 571875 h 1038862"/>
                  <a:gd name="connsiteX111" fmla="*/ 2207181 w 2259925"/>
                  <a:gd name="connsiteY111" fmla="*/ 574519 h 1038862"/>
                  <a:gd name="connsiteX112" fmla="*/ 2253799 w 2259925"/>
                  <a:gd name="connsiteY112" fmla="*/ 611547 h 1038862"/>
                  <a:gd name="connsiteX113" fmla="*/ 2256542 w 2259925"/>
                  <a:gd name="connsiteY113" fmla="*/ 630061 h 1038862"/>
                  <a:gd name="connsiteX114" fmla="*/ 2245573 w 2259925"/>
                  <a:gd name="connsiteY114" fmla="*/ 635350 h 1038862"/>
                  <a:gd name="connsiteX115" fmla="*/ 2237346 w 2259925"/>
                  <a:gd name="connsiteY115" fmla="*/ 632705 h 1038862"/>
                  <a:gd name="connsiteX116" fmla="*/ 2189357 w 2259925"/>
                  <a:gd name="connsiteY116" fmla="*/ 595678 h 1038862"/>
                  <a:gd name="connsiteX117" fmla="*/ 2184386 w 2259925"/>
                  <a:gd name="connsiteY117" fmla="*/ 586917 h 1038862"/>
                  <a:gd name="connsiteX118" fmla="*/ 2186605 w 2259925"/>
                  <a:gd name="connsiteY118" fmla="*/ 577204 h 1038862"/>
                  <a:gd name="connsiteX119" fmla="*/ 2182848 w 2259925"/>
                  <a:gd name="connsiteY119" fmla="*/ 584012 h 1038862"/>
                  <a:gd name="connsiteX120" fmla="*/ 2181808 w 2259925"/>
                  <a:gd name="connsiteY120" fmla="*/ 585896 h 1038862"/>
                  <a:gd name="connsiteX121" fmla="*/ 2169334 w 2259925"/>
                  <a:gd name="connsiteY121" fmla="*/ 594115 h 1038862"/>
                  <a:gd name="connsiteX122" fmla="*/ 2162404 w 2259925"/>
                  <a:gd name="connsiteY122" fmla="*/ 591375 h 1038862"/>
                  <a:gd name="connsiteX123" fmla="*/ 2156859 w 2259925"/>
                  <a:gd name="connsiteY123" fmla="*/ 572196 h 1038862"/>
                  <a:gd name="connsiteX124" fmla="*/ 2159631 w 2259925"/>
                  <a:gd name="connsiteY124" fmla="*/ 566716 h 1038862"/>
                  <a:gd name="connsiteX125" fmla="*/ 2154087 w 2259925"/>
                  <a:gd name="connsiteY125" fmla="*/ 561236 h 1038862"/>
                  <a:gd name="connsiteX126" fmla="*/ 2152701 w 2259925"/>
                  <a:gd name="connsiteY126" fmla="*/ 542057 h 1038862"/>
                  <a:gd name="connsiteX127" fmla="*/ 2161884 w 2259925"/>
                  <a:gd name="connsiteY127" fmla="*/ 536749 h 1038862"/>
                  <a:gd name="connsiteX128" fmla="*/ 2000032 w 2259925"/>
                  <a:gd name="connsiteY128" fmla="*/ 518887 h 1038862"/>
                  <a:gd name="connsiteX129" fmla="*/ 2013736 w 2259925"/>
                  <a:gd name="connsiteY129" fmla="*/ 522945 h 1038862"/>
                  <a:gd name="connsiteX130" fmla="*/ 2024700 w 2259925"/>
                  <a:gd name="connsiteY130" fmla="*/ 537822 h 1038862"/>
                  <a:gd name="connsiteX131" fmla="*/ 2039774 w 2259925"/>
                  <a:gd name="connsiteY131" fmla="*/ 531059 h 1038862"/>
                  <a:gd name="connsiteX132" fmla="*/ 2052108 w 2259925"/>
                  <a:gd name="connsiteY132" fmla="*/ 531059 h 1038862"/>
                  <a:gd name="connsiteX133" fmla="*/ 2128851 w 2259925"/>
                  <a:gd name="connsiteY133" fmla="*/ 570281 h 1038862"/>
                  <a:gd name="connsiteX134" fmla="*/ 2132962 w 2259925"/>
                  <a:gd name="connsiteY134" fmla="*/ 574339 h 1038862"/>
                  <a:gd name="connsiteX135" fmla="*/ 2175445 w 2259925"/>
                  <a:gd name="connsiteY135" fmla="*/ 628437 h 1038862"/>
                  <a:gd name="connsiteX136" fmla="*/ 2174074 w 2259925"/>
                  <a:gd name="connsiteY136" fmla="*/ 646019 h 1038862"/>
                  <a:gd name="connsiteX137" fmla="*/ 2163111 w 2259925"/>
                  <a:gd name="connsiteY137" fmla="*/ 650076 h 1038862"/>
                  <a:gd name="connsiteX138" fmla="*/ 2156259 w 2259925"/>
                  <a:gd name="connsiteY138" fmla="*/ 647371 h 1038862"/>
                  <a:gd name="connsiteX139" fmla="*/ 2104183 w 2259925"/>
                  <a:gd name="connsiteY139" fmla="*/ 613560 h 1038862"/>
                  <a:gd name="connsiteX140" fmla="*/ 2093220 w 2259925"/>
                  <a:gd name="connsiteY140" fmla="*/ 624380 h 1038862"/>
                  <a:gd name="connsiteX141" fmla="*/ 2076775 w 2259925"/>
                  <a:gd name="connsiteY141" fmla="*/ 627084 h 1038862"/>
                  <a:gd name="connsiteX142" fmla="*/ 2038404 w 2259925"/>
                  <a:gd name="connsiteY142" fmla="*/ 608150 h 1038862"/>
                  <a:gd name="connsiteX143" fmla="*/ 2030181 w 2259925"/>
                  <a:gd name="connsiteY143" fmla="*/ 593273 h 1038862"/>
                  <a:gd name="connsiteX144" fmla="*/ 2031552 w 2259925"/>
                  <a:gd name="connsiteY144" fmla="*/ 589216 h 1038862"/>
                  <a:gd name="connsiteX145" fmla="*/ 1991810 w 2259925"/>
                  <a:gd name="connsiteY145" fmla="*/ 572986 h 1038862"/>
                  <a:gd name="connsiteX146" fmla="*/ 1983587 w 2259925"/>
                  <a:gd name="connsiteY146" fmla="*/ 556756 h 1038862"/>
                  <a:gd name="connsiteX147" fmla="*/ 1989069 w 2259925"/>
                  <a:gd name="connsiteY147" fmla="*/ 529707 h 1038862"/>
                  <a:gd name="connsiteX148" fmla="*/ 2000032 w 2259925"/>
                  <a:gd name="connsiteY148" fmla="*/ 518887 h 1038862"/>
                  <a:gd name="connsiteX149" fmla="*/ 1925562 w 2259925"/>
                  <a:gd name="connsiteY149" fmla="*/ 502808 h 1038862"/>
                  <a:gd name="connsiteX150" fmla="*/ 1947738 w 2259925"/>
                  <a:gd name="connsiteY150" fmla="*/ 502808 h 1038862"/>
                  <a:gd name="connsiteX151" fmla="*/ 1961599 w 2259925"/>
                  <a:gd name="connsiteY151" fmla="*/ 516444 h 1038862"/>
                  <a:gd name="connsiteX152" fmla="*/ 1947738 w 2259925"/>
                  <a:gd name="connsiteY152" fmla="*/ 531444 h 1038862"/>
                  <a:gd name="connsiteX153" fmla="*/ 1935264 w 2259925"/>
                  <a:gd name="connsiteY153" fmla="*/ 531444 h 1038862"/>
                  <a:gd name="connsiteX154" fmla="*/ 1920018 w 2259925"/>
                  <a:gd name="connsiteY154" fmla="*/ 568261 h 1038862"/>
                  <a:gd name="connsiteX155" fmla="*/ 1906157 w 2259925"/>
                  <a:gd name="connsiteY155" fmla="*/ 576443 h 1038862"/>
                  <a:gd name="connsiteX156" fmla="*/ 1900613 w 2259925"/>
                  <a:gd name="connsiteY156" fmla="*/ 575080 h 1038862"/>
                  <a:gd name="connsiteX157" fmla="*/ 1893683 w 2259925"/>
                  <a:gd name="connsiteY157" fmla="*/ 557352 h 1038862"/>
                  <a:gd name="connsiteX158" fmla="*/ 1911701 w 2259925"/>
                  <a:gd name="connsiteY158" fmla="*/ 510989 h 1038862"/>
                  <a:gd name="connsiteX159" fmla="*/ 1925562 w 2259925"/>
                  <a:gd name="connsiteY159" fmla="*/ 502808 h 1038862"/>
                  <a:gd name="connsiteX160" fmla="*/ 1690287 w 2259925"/>
                  <a:gd name="connsiteY160" fmla="*/ 469187 h 1038862"/>
                  <a:gd name="connsiteX161" fmla="*/ 1698783 w 2259925"/>
                  <a:gd name="connsiteY161" fmla="*/ 472973 h 1038862"/>
                  <a:gd name="connsiteX162" fmla="*/ 1757237 w 2259925"/>
                  <a:gd name="connsiteY162" fmla="*/ 534922 h 1038862"/>
                  <a:gd name="connsiteX163" fmla="*/ 1761315 w 2259925"/>
                  <a:gd name="connsiteY163" fmla="*/ 547311 h 1038862"/>
                  <a:gd name="connsiteX164" fmla="*/ 1754518 w 2259925"/>
                  <a:gd name="connsiteY164" fmla="*/ 583104 h 1038862"/>
                  <a:gd name="connsiteX165" fmla="*/ 1743643 w 2259925"/>
                  <a:gd name="connsiteY165" fmla="*/ 594117 h 1038862"/>
                  <a:gd name="connsiteX166" fmla="*/ 1740924 w 2259925"/>
                  <a:gd name="connsiteY166" fmla="*/ 594117 h 1038862"/>
                  <a:gd name="connsiteX167" fmla="*/ 1730049 w 2259925"/>
                  <a:gd name="connsiteY167" fmla="*/ 589987 h 1038862"/>
                  <a:gd name="connsiteX168" fmla="*/ 1713737 w 2259925"/>
                  <a:gd name="connsiteY168" fmla="*/ 572091 h 1038862"/>
                  <a:gd name="connsiteX169" fmla="*/ 1709659 w 2259925"/>
                  <a:gd name="connsiteY169" fmla="*/ 566584 h 1038862"/>
                  <a:gd name="connsiteX170" fmla="*/ 1697424 w 2259925"/>
                  <a:gd name="connsiteY170" fmla="*/ 522532 h 1038862"/>
                  <a:gd name="connsiteX171" fmla="*/ 1677033 w 2259925"/>
                  <a:gd name="connsiteY171" fmla="*/ 490869 h 1038862"/>
                  <a:gd name="connsiteX172" fmla="*/ 1679752 w 2259925"/>
                  <a:gd name="connsiteY172" fmla="*/ 471596 h 1038862"/>
                  <a:gd name="connsiteX173" fmla="*/ 1690287 w 2259925"/>
                  <a:gd name="connsiteY173" fmla="*/ 469187 h 1038862"/>
                  <a:gd name="connsiteX174" fmla="*/ 1876320 w 2259925"/>
                  <a:gd name="connsiteY174" fmla="*/ 438012 h 1038862"/>
                  <a:gd name="connsiteX175" fmla="*/ 1907467 w 2259925"/>
                  <a:gd name="connsiteY175" fmla="*/ 468343 h 1038862"/>
                  <a:gd name="connsiteX176" fmla="*/ 1910175 w 2259925"/>
                  <a:gd name="connsiteY176" fmla="*/ 480751 h 1038862"/>
                  <a:gd name="connsiteX177" fmla="*/ 1884445 w 2259925"/>
                  <a:gd name="connsiteY177" fmla="*/ 557957 h 1038862"/>
                  <a:gd name="connsiteX178" fmla="*/ 1870904 w 2259925"/>
                  <a:gd name="connsiteY178" fmla="*/ 567607 h 1038862"/>
                  <a:gd name="connsiteX179" fmla="*/ 1868195 w 2259925"/>
                  <a:gd name="connsiteY179" fmla="*/ 567607 h 1038862"/>
                  <a:gd name="connsiteX180" fmla="*/ 1815382 w 2259925"/>
                  <a:gd name="connsiteY180" fmla="*/ 552442 h 1038862"/>
                  <a:gd name="connsiteX181" fmla="*/ 1805903 w 2259925"/>
                  <a:gd name="connsiteY181" fmla="*/ 544170 h 1038862"/>
                  <a:gd name="connsiteX182" fmla="*/ 1795069 w 2259925"/>
                  <a:gd name="connsiteY182" fmla="*/ 515218 h 1038862"/>
                  <a:gd name="connsiteX183" fmla="*/ 1795069 w 2259925"/>
                  <a:gd name="connsiteY183" fmla="*/ 504188 h 1038862"/>
                  <a:gd name="connsiteX184" fmla="*/ 1803194 w 2259925"/>
                  <a:gd name="connsiteY184" fmla="*/ 495916 h 1038862"/>
                  <a:gd name="connsiteX185" fmla="*/ 1824861 w 2259925"/>
                  <a:gd name="connsiteY185" fmla="*/ 487644 h 1038862"/>
                  <a:gd name="connsiteX186" fmla="*/ 1843820 w 2259925"/>
                  <a:gd name="connsiteY186" fmla="*/ 465585 h 1038862"/>
                  <a:gd name="connsiteX187" fmla="*/ 1876320 w 2259925"/>
                  <a:gd name="connsiteY187" fmla="*/ 438012 h 1038862"/>
                  <a:gd name="connsiteX188" fmla="*/ 2043368 w 2259925"/>
                  <a:gd name="connsiteY188" fmla="*/ 420340 h 1038862"/>
                  <a:gd name="connsiteX189" fmla="*/ 2058796 w 2259925"/>
                  <a:gd name="connsiteY189" fmla="*/ 433934 h 1038862"/>
                  <a:gd name="connsiteX190" fmla="*/ 2058796 w 2259925"/>
                  <a:gd name="connsiteY190" fmla="*/ 442090 h 1038862"/>
                  <a:gd name="connsiteX191" fmla="*/ 2043368 w 2259925"/>
                  <a:gd name="connsiteY191" fmla="*/ 455684 h 1038862"/>
                  <a:gd name="connsiteX192" fmla="*/ 2029343 w 2259925"/>
                  <a:gd name="connsiteY192" fmla="*/ 442090 h 1038862"/>
                  <a:gd name="connsiteX193" fmla="*/ 2029343 w 2259925"/>
                  <a:gd name="connsiteY193" fmla="*/ 433934 h 1038862"/>
                  <a:gd name="connsiteX194" fmla="*/ 2043368 w 2259925"/>
                  <a:gd name="connsiteY194" fmla="*/ 420340 h 1038862"/>
                  <a:gd name="connsiteX195" fmla="*/ 1953568 w 2259925"/>
                  <a:gd name="connsiteY195" fmla="*/ 411331 h 1038862"/>
                  <a:gd name="connsiteX196" fmla="*/ 1969633 w 2259925"/>
                  <a:gd name="connsiteY196" fmla="*/ 412717 h 1038862"/>
                  <a:gd name="connsiteX197" fmla="*/ 1974988 w 2259925"/>
                  <a:gd name="connsiteY197" fmla="*/ 427963 h 1038862"/>
                  <a:gd name="connsiteX198" fmla="*/ 1962939 w 2259925"/>
                  <a:gd name="connsiteY198" fmla="*/ 469545 h 1038862"/>
                  <a:gd name="connsiteX199" fmla="*/ 1952229 w 2259925"/>
                  <a:gd name="connsiteY199" fmla="*/ 479247 h 1038862"/>
                  <a:gd name="connsiteX200" fmla="*/ 1949551 w 2259925"/>
                  <a:gd name="connsiteY200" fmla="*/ 479247 h 1038862"/>
                  <a:gd name="connsiteX201" fmla="*/ 1938841 w 2259925"/>
                  <a:gd name="connsiteY201" fmla="*/ 475089 h 1038862"/>
                  <a:gd name="connsiteX202" fmla="*/ 1921437 w 2259925"/>
                  <a:gd name="connsiteY202" fmla="*/ 454298 h 1038862"/>
                  <a:gd name="connsiteX203" fmla="*/ 1917420 w 2259925"/>
                  <a:gd name="connsiteY203" fmla="*/ 443210 h 1038862"/>
                  <a:gd name="connsiteX204" fmla="*/ 1924114 w 2259925"/>
                  <a:gd name="connsiteY204" fmla="*/ 432121 h 1038862"/>
                  <a:gd name="connsiteX205" fmla="*/ 1953568 w 2259925"/>
                  <a:gd name="connsiteY205" fmla="*/ 411331 h 1038862"/>
                  <a:gd name="connsiteX206" fmla="*/ 1905534 w 2259925"/>
                  <a:gd name="connsiteY206" fmla="*/ 398157 h 1038862"/>
                  <a:gd name="connsiteX207" fmla="*/ 1916407 w 2259925"/>
                  <a:gd name="connsiteY207" fmla="*/ 400919 h 1038862"/>
                  <a:gd name="connsiteX208" fmla="*/ 1917788 w 2259925"/>
                  <a:gd name="connsiteY208" fmla="*/ 421629 h 1038862"/>
                  <a:gd name="connsiteX209" fmla="*/ 1906742 w 2259925"/>
                  <a:gd name="connsiteY209" fmla="*/ 435435 h 1038862"/>
                  <a:gd name="connsiteX210" fmla="*/ 1895697 w 2259925"/>
                  <a:gd name="connsiteY210" fmla="*/ 440958 h 1038862"/>
                  <a:gd name="connsiteX211" fmla="*/ 1887413 w 2259925"/>
                  <a:gd name="connsiteY211" fmla="*/ 436816 h 1038862"/>
                  <a:gd name="connsiteX212" fmla="*/ 1884652 w 2259925"/>
                  <a:gd name="connsiteY212" fmla="*/ 417487 h 1038862"/>
                  <a:gd name="connsiteX213" fmla="*/ 1895697 w 2259925"/>
                  <a:gd name="connsiteY213" fmla="*/ 403680 h 1038862"/>
                  <a:gd name="connsiteX214" fmla="*/ 1905534 w 2259925"/>
                  <a:gd name="connsiteY214" fmla="*/ 398157 h 1038862"/>
                  <a:gd name="connsiteX215" fmla="*/ 225483 w 2259925"/>
                  <a:gd name="connsiteY215" fmla="*/ 352344 h 1038862"/>
                  <a:gd name="connsiteX216" fmla="*/ 242501 w 2259925"/>
                  <a:gd name="connsiteY216" fmla="*/ 361769 h 1038862"/>
                  <a:gd name="connsiteX217" fmla="*/ 249046 w 2259925"/>
                  <a:gd name="connsiteY217" fmla="*/ 379273 h 1038862"/>
                  <a:gd name="connsiteX218" fmla="*/ 239883 w 2259925"/>
                  <a:gd name="connsiteY218" fmla="*/ 396777 h 1038862"/>
                  <a:gd name="connsiteX219" fmla="*/ 235956 w 2259925"/>
                  <a:gd name="connsiteY219" fmla="*/ 396777 h 1038862"/>
                  <a:gd name="connsiteX220" fmla="*/ 222865 w 2259925"/>
                  <a:gd name="connsiteY220" fmla="*/ 387352 h 1038862"/>
                  <a:gd name="connsiteX221" fmla="*/ 217629 w 2259925"/>
                  <a:gd name="connsiteY221" fmla="*/ 369848 h 1038862"/>
                  <a:gd name="connsiteX222" fmla="*/ 225483 w 2259925"/>
                  <a:gd name="connsiteY222" fmla="*/ 352344 h 1038862"/>
                  <a:gd name="connsiteX223" fmla="*/ 161487 w 2259925"/>
                  <a:gd name="connsiteY223" fmla="*/ 315725 h 1038862"/>
                  <a:gd name="connsiteX224" fmla="*/ 209019 w 2259925"/>
                  <a:gd name="connsiteY224" fmla="*/ 322816 h 1038862"/>
                  <a:gd name="connsiteX225" fmla="*/ 219582 w 2259925"/>
                  <a:gd name="connsiteY225" fmla="*/ 339834 h 1038862"/>
                  <a:gd name="connsiteX226" fmla="*/ 206378 w 2259925"/>
                  <a:gd name="connsiteY226" fmla="*/ 352597 h 1038862"/>
                  <a:gd name="connsiteX227" fmla="*/ 205058 w 2259925"/>
                  <a:gd name="connsiteY227" fmla="*/ 352597 h 1038862"/>
                  <a:gd name="connsiteX228" fmla="*/ 157526 w 2259925"/>
                  <a:gd name="connsiteY228" fmla="*/ 344088 h 1038862"/>
                  <a:gd name="connsiteX229" fmla="*/ 145643 w 2259925"/>
                  <a:gd name="connsiteY229" fmla="*/ 328489 h 1038862"/>
                  <a:gd name="connsiteX230" fmla="*/ 161487 w 2259925"/>
                  <a:gd name="connsiteY230" fmla="*/ 315725 h 1038862"/>
                  <a:gd name="connsiteX231" fmla="*/ 13723 w 2259925"/>
                  <a:gd name="connsiteY231" fmla="*/ 287800 h 1038862"/>
                  <a:gd name="connsiteX232" fmla="*/ 56263 w 2259925"/>
                  <a:gd name="connsiteY232" fmla="*/ 287800 h 1038862"/>
                  <a:gd name="connsiteX233" fmla="*/ 63124 w 2259925"/>
                  <a:gd name="connsiteY233" fmla="*/ 289165 h 1038862"/>
                  <a:gd name="connsiteX234" fmla="*/ 82336 w 2259925"/>
                  <a:gd name="connsiteY234" fmla="*/ 300085 h 1038862"/>
                  <a:gd name="connsiteX235" fmla="*/ 111154 w 2259925"/>
                  <a:gd name="connsiteY235" fmla="*/ 311004 h 1038862"/>
                  <a:gd name="connsiteX236" fmla="*/ 119388 w 2259925"/>
                  <a:gd name="connsiteY236" fmla="*/ 326018 h 1038862"/>
                  <a:gd name="connsiteX237" fmla="*/ 107037 w 2259925"/>
                  <a:gd name="connsiteY237" fmla="*/ 338303 h 1038862"/>
                  <a:gd name="connsiteX238" fmla="*/ 53519 w 2259925"/>
                  <a:gd name="connsiteY238" fmla="*/ 343762 h 1038862"/>
                  <a:gd name="connsiteX239" fmla="*/ 52146 w 2259925"/>
                  <a:gd name="connsiteY239" fmla="*/ 343762 h 1038862"/>
                  <a:gd name="connsiteX240" fmla="*/ 38424 w 2259925"/>
                  <a:gd name="connsiteY240" fmla="*/ 331478 h 1038862"/>
                  <a:gd name="connsiteX241" fmla="*/ 50774 w 2259925"/>
                  <a:gd name="connsiteY241" fmla="*/ 316464 h 1038862"/>
                  <a:gd name="connsiteX242" fmla="*/ 53519 w 2259925"/>
                  <a:gd name="connsiteY242" fmla="*/ 316464 h 1038862"/>
                  <a:gd name="connsiteX243" fmla="*/ 52146 w 2259925"/>
                  <a:gd name="connsiteY243" fmla="*/ 315099 h 1038862"/>
                  <a:gd name="connsiteX244" fmla="*/ 13723 w 2259925"/>
                  <a:gd name="connsiteY244" fmla="*/ 315099 h 1038862"/>
                  <a:gd name="connsiteX245" fmla="*/ 0 w 2259925"/>
                  <a:gd name="connsiteY245" fmla="*/ 301450 h 1038862"/>
                  <a:gd name="connsiteX246" fmla="*/ 13723 w 2259925"/>
                  <a:gd name="connsiteY246" fmla="*/ 287800 h 1038862"/>
                  <a:gd name="connsiteX247" fmla="*/ 2026643 w 2259925"/>
                  <a:gd name="connsiteY247" fmla="*/ 116970 h 1038862"/>
                  <a:gd name="connsiteX248" fmla="*/ 2037770 w 2259925"/>
                  <a:gd name="connsiteY248" fmla="*/ 125232 h 1038862"/>
                  <a:gd name="connsiteX249" fmla="*/ 2054460 w 2259925"/>
                  <a:gd name="connsiteY249" fmla="*/ 155527 h 1038862"/>
                  <a:gd name="connsiteX250" fmla="*/ 2055851 w 2259925"/>
                  <a:gd name="connsiteY250" fmla="*/ 161035 h 1038862"/>
                  <a:gd name="connsiteX251" fmla="*/ 2030816 w 2259925"/>
                  <a:gd name="connsiteY251" fmla="*/ 203724 h 1038862"/>
                  <a:gd name="connsiteX252" fmla="*/ 1975181 w 2259925"/>
                  <a:gd name="connsiteY252" fmla="*/ 223002 h 1038862"/>
                  <a:gd name="connsiteX253" fmla="*/ 1971009 w 2259925"/>
                  <a:gd name="connsiteY253" fmla="*/ 223002 h 1038862"/>
                  <a:gd name="connsiteX254" fmla="*/ 1958491 w 2259925"/>
                  <a:gd name="connsiteY254" fmla="*/ 217494 h 1038862"/>
                  <a:gd name="connsiteX255" fmla="*/ 1959882 w 2259925"/>
                  <a:gd name="connsiteY255" fmla="*/ 200970 h 1038862"/>
                  <a:gd name="connsiteX256" fmla="*/ 1986308 w 2259925"/>
                  <a:gd name="connsiteY256" fmla="*/ 169298 h 1038862"/>
                  <a:gd name="connsiteX257" fmla="*/ 2012734 w 2259925"/>
                  <a:gd name="connsiteY257" fmla="*/ 123855 h 1038862"/>
                  <a:gd name="connsiteX258" fmla="*/ 2026643 w 2259925"/>
                  <a:gd name="connsiteY258" fmla="*/ 116970 h 1038862"/>
                  <a:gd name="connsiteX259" fmla="*/ 1998723 w 2259925"/>
                  <a:gd name="connsiteY259" fmla="*/ 59433 h 1038862"/>
                  <a:gd name="connsiteX260" fmla="*/ 2043182 w 2259925"/>
                  <a:gd name="connsiteY260" fmla="*/ 74502 h 1038862"/>
                  <a:gd name="connsiteX261" fmla="*/ 2052907 w 2259925"/>
                  <a:gd name="connsiteY261" fmla="*/ 86831 h 1038862"/>
                  <a:gd name="connsiteX262" fmla="*/ 2043182 w 2259925"/>
                  <a:gd name="connsiteY262" fmla="*/ 100531 h 1038862"/>
                  <a:gd name="connsiteX263" fmla="*/ 2009838 w 2259925"/>
                  <a:gd name="connsiteY263" fmla="*/ 115600 h 1038862"/>
                  <a:gd name="connsiteX264" fmla="*/ 2004280 w 2259925"/>
                  <a:gd name="connsiteY264" fmla="*/ 116970 h 1038862"/>
                  <a:gd name="connsiteX265" fmla="*/ 1998723 w 2259925"/>
                  <a:gd name="connsiteY265" fmla="*/ 115600 h 1038862"/>
                  <a:gd name="connsiteX266" fmla="*/ 1990387 w 2259925"/>
                  <a:gd name="connsiteY266" fmla="*/ 106010 h 1038862"/>
                  <a:gd name="connsiteX267" fmla="*/ 1980661 w 2259925"/>
                  <a:gd name="connsiteY267" fmla="*/ 77242 h 1038862"/>
                  <a:gd name="connsiteX268" fmla="*/ 1984829 w 2259925"/>
                  <a:gd name="connsiteY268" fmla="*/ 63542 h 1038862"/>
                  <a:gd name="connsiteX269" fmla="*/ 1998723 w 2259925"/>
                  <a:gd name="connsiteY269" fmla="*/ 59433 h 1038862"/>
                  <a:gd name="connsiteX270" fmla="*/ 365788 w 2259925"/>
                  <a:gd name="connsiteY270" fmla="*/ 1938 h 1038862"/>
                  <a:gd name="connsiteX271" fmla="*/ 371303 w 2259925"/>
                  <a:gd name="connsiteY271" fmla="*/ 20020 h 1038862"/>
                  <a:gd name="connsiteX272" fmla="*/ 365788 w 2259925"/>
                  <a:gd name="connsiteY272" fmla="*/ 31147 h 1038862"/>
                  <a:gd name="connsiteX273" fmla="*/ 371303 w 2259925"/>
                  <a:gd name="connsiteY273" fmla="*/ 42274 h 1038862"/>
                  <a:gd name="connsiteX274" fmla="*/ 371303 w 2259925"/>
                  <a:gd name="connsiteY274" fmla="*/ 49228 h 1038862"/>
                  <a:gd name="connsiteX275" fmla="*/ 312019 w 2259925"/>
                  <a:gd name="connsiteY275" fmla="*/ 49228 h 1038862"/>
                  <a:gd name="connsiteX276" fmla="*/ 310641 w 2259925"/>
                  <a:gd name="connsiteY276" fmla="*/ 45056 h 1038862"/>
                  <a:gd name="connsiteX277" fmla="*/ 316155 w 2259925"/>
                  <a:gd name="connsiteY277" fmla="*/ 29756 h 1038862"/>
                  <a:gd name="connsiteX278" fmla="*/ 349244 w 2259925"/>
                  <a:gd name="connsiteY278" fmla="*/ 3329 h 1038862"/>
                  <a:gd name="connsiteX279" fmla="*/ 365788 w 2259925"/>
                  <a:gd name="connsiteY279" fmla="*/ 1938 h 103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2259925" h="1038862">
                    <a:moveTo>
                      <a:pt x="1974262" y="960697"/>
                    </a:moveTo>
                    <a:cubicBezTo>
                      <a:pt x="1976913" y="962056"/>
                      <a:pt x="1987516" y="962056"/>
                      <a:pt x="1995469" y="963415"/>
                    </a:cubicBezTo>
                    <a:cubicBezTo>
                      <a:pt x="2000770" y="963415"/>
                      <a:pt x="2004747" y="967494"/>
                      <a:pt x="2006072" y="972931"/>
                    </a:cubicBezTo>
                    <a:cubicBezTo>
                      <a:pt x="2008723" y="978369"/>
                      <a:pt x="2007397" y="983806"/>
                      <a:pt x="2003421" y="987884"/>
                    </a:cubicBezTo>
                    <a:cubicBezTo>
                      <a:pt x="1983540" y="1008275"/>
                      <a:pt x="1983540" y="1008275"/>
                      <a:pt x="1983540" y="1008275"/>
                    </a:cubicBezTo>
                    <a:cubicBezTo>
                      <a:pt x="1980889" y="1010994"/>
                      <a:pt x="1976913" y="1012353"/>
                      <a:pt x="1972937" y="1012353"/>
                    </a:cubicBezTo>
                    <a:cubicBezTo>
                      <a:pt x="1971612" y="1012353"/>
                      <a:pt x="1970286" y="1012353"/>
                      <a:pt x="1968961" y="1010994"/>
                    </a:cubicBezTo>
                    <a:cubicBezTo>
                      <a:pt x="1964985" y="1009634"/>
                      <a:pt x="1961008" y="1005556"/>
                      <a:pt x="1959683" y="1000119"/>
                    </a:cubicBezTo>
                    <a:cubicBezTo>
                      <a:pt x="1955707" y="977009"/>
                      <a:pt x="1955707" y="977009"/>
                      <a:pt x="1955707" y="977009"/>
                    </a:cubicBezTo>
                    <a:cubicBezTo>
                      <a:pt x="1955707" y="971572"/>
                      <a:pt x="1957032" y="966134"/>
                      <a:pt x="1961008" y="963415"/>
                    </a:cubicBezTo>
                    <a:cubicBezTo>
                      <a:pt x="1964985" y="960697"/>
                      <a:pt x="1970286" y="959337"/>
                      <a:pt x="1974262" y="960697"/>
                    </a:cubicBezTo>
                    <a:close/>
                    <a:moveTo>
                      <a:pt x="2161818" y="954802"/>
                    </a:moveTo>
                    <a:cubicBezTo>
                      <a:pt x="2165852" y="956158"/>
                      <a:pt x="2168541" y="958869"/>
                      <a:pt x="2169886" y="962937"/>
                    </a:cubicBezTo>
                    <a:cubicBezTo>
                      <a:pt x="2173920" y="979207"/>
                      <a:pt x="2173920" y="979207"/>
                      <a:pt x="2173920" y="979207"/>
                    </a:cubicBezTo>
                    <a:cubicBezTo>
                      <a:pt x="2176609" y="984630"/>
                      <a:pt x="2173920" y="992765"/>
                      <a:pt x="2167197" y="995476"/>
                    </a:cubicBezTo>
                    <a:cubicBezTo>
                      <a:pt x="2074419" y="1037506"/>
                      <a:pt x="2074419" y="1037506"/>
                      <a:pt x="2074419" y="1037506"/>
                    </a:cubicBezTo>
                    <a:cubicBezTo>
                      <a:pt x="2073074" y="1038862"/>
                      <a:pt x="2070385" y="1038862"/>
                      <a:pt x="2069040" y="1038862"/>
                    </a:cubicBezTo>
                    <a:cubicBezTo>
                      <a:pt x="2063662" y="1038862"/>
                      <a:pt x="2059628" y="1036151"/>
                      <a:pt x="2056939" y="1032083"/>
                    </a:cubicBezTo>
                    <a:cubicBezTo>
                      <a:pt x="2052905" y="1025304"/>
                      <a:pt x="2055594" y="1017169"/>
                      <a:pt x="2060973" y="1013102"/>
                    </a:cubicBezTo>
                    <a:cubicBezTo>
                      <a:pt x="2149717" y="956158"/>
                      <a:pt x="2149717" y="956158"/>
                      <a:pt x="2149717" y="956158"/>
                    </a:cubicBezTo>
                    <a:cubicBezTo>
                      <a:pt x="2152406" y="953446"/>
                      <a:pt x="2157785" y="953446"/>
                      <a:pt x="2161818" y="954802"/>
                    </a:cubicBezTo>
                    <a:close/>
                    <a:moveTo>
                      <a:pt x="2226681" y="892949"/>
                    </a:moveTo>
                    <a:cubicBezTo>
                      <a:pt x="2232036" y="892949"/>
                      <a:pt x="2237392" y="897016"/>
                      <a:pt x="2238730" y="902439"/>
                    </a:cubicBezTo>
                    <a:cubicBezTo>
                      <a:pt x="2242747" y="917353"/>
                      <a:pt x="2242747" y="917353"/>
                      <a:pt x="2242747" y="917353"/>
                    </a:cubicBezTo>
                    <a:cubicBezTo>
                      <a:pt x="2248102" y="917353"/>
                      <a:pt x="2252119" y="921421"/>
                      <a:pt x="2254796" y="926844"/>
                    </a:cubicBezTo>
                    <a:cubicBezTo>
                      <a:pt x="2256135" y="932267"/>
                      <a:pt x="2254796" y="939046"/>
                      <a:pt x="2249441" y="943114"/>
                    </a:cubicBezTo>
                    <a:cubicBezTo>
                      <a:pt x="2205260" y="974298"/>
                      <a:pt x="2205260" y="974298"/>
                      <a:pt x="2205260" y="974298"/>
                    </a:cubicBezTo>
                    <a:cubicBezTo>
                      <a:pt x="2202582" y="975653"/>
                      <a:pt x="2199905" y="977009"/>
                      <a:pt x="2197227" y="977009"/>
                    </a:cubicBezTo>
                    <a:cubicBezTo>
                      <a:pt x="2194549" y="977009"/>
                      <a:pt x="2190533" y="975653"/>
                      <a:pt x="2189194" y="974298"/>
                    </a:cubicBezTo>
                    <a:cubicBezTo>
                      <a:pt x="2183839" y="970230"/>
                      <a:pt x="2182500" y="963451"/>
                      <a:pt x="2185178" y="956672"/>
                    </a:cubicBezTo>
                    <a:cubicBezTo>
                      <a:pt x="2213293" y="899728"/>
                      <a:pt x="2213293" y="899728"/>
                      <a:pt x="2213293" y="899728"/>
                    </a:cubicBezTo>
                    <a:cubicBezTo>
                      <a:pt x="2214632" y="894304"/>
                      <a:pt x="2221326" y="891593"/>
                      <a:pt x="2226681" y="892949"/>
                    </a:cubicBezTo>
                    <a:close/>
                    <a:moveTo>
                      <a:pt x="1932483" y="653021"/>
                    </a:moveTo>
                    <a:cubicBezTo>
                      <a:pt x="1984111" y="657093"/>
                      <a:pt x="1984111" y="657093"/>
                      <a:pt x="1984111" y="657093"/>
                    </a:cubicBezTo>
                    <a:cubicBezTo>
                      <a:pt x="1988187" y="658450"/>
                      <a:pt x="1992263" y="659807"/>
                      <a:pt x="1993621" y="663879"/>
                    </a:cubicBezTo>
                    <a:cubicBezTo>
                      <a:pt x="1996338" y="667951"/>
                      <a:pt x="1997697" y="672023"/>
                      <a:pt x="1996338" y="676095"/>
                    </a:cubicBezTo>
                    <a:cubicBezTo>
                      <a:pt x="1992263" y="685596"/>
                      <a:pt x="1992263" y="685596"/>
                      <a:pt x="1992263" y="685596"/>
                    </a:cubicBezTo>
                    <a:cubicBezTo>
                      <a:pt x="2011283" y="692382"/>
                      <a:pt x="2011283" y="692382"/>
                      <a:pt x="2011283" y="692382"/>
                    </a:cubicBezTo>
                    <a:cubicBezTo>
                      <a:pt x="2028946" y="659807"/>
                      <a:pt x="2028946" y="659807"/>
                      <a:pt x="2028946" y="659807"/>
                    </a:cubicBezTo>
                    <a:cubicBezTo>
                      <a:pt x="2031663" y="655735"/>
                      <a:pt x="2035739" y="654378"/>
                      <a:pt x="2039815" y="653021"/>
                    </a:cubicBezTo>
                    <a:cubicBezTo>
                      <a:pt x="2043890" y="653021"/>
                      <a:pt x="2047966" y="653021"/>
                      <a:pt x="2050684" y="657093"/>
                    </a:cubicBezTo>
                    <a:cubicBezTo>
                      <a:pt x="2073780" y="677452"/>
                      <a:pt x="2073780" y="677452"/>
                      <a:pt x="2073780" y="677452"/>
                    </a:cubicBezTo>
                    <a:cubicBezTo>
                      <a:pt x="2076498" y="678809"/>
                      <a:pt x="2077856" y="681524"/>
                      <a:pt x="2079215" y="684239"/>
                    </a:cubicBezTo>
                    <a:cubicBezTo>
                      <a:pt x="2088725" y="734459"/>
                      <a:pt x="2088725" y="734459"/>
                      <a:pt x="2088725" y="734459"/>
                    </a:cubicBezTo>
                    <a:cubicBezTo>
                      <a:pt x="2125408" y="791465"/>
                      <a:pt x="2125408" y="791465"/>
                      <a:pt x="2125408" y="791465"/>
                    </a:cubicBezTo>
                    <a:cubicBezTo>
                      <a:pt x="2128126" y="795537"/>
                      <a:pt x="2129484" y="800966"/>
                      <a:pt x="2126767" y="806396"/>
                    </a:cubicBezTo>
                    <a:cubicBezTo>
                      <a:pt x="2087367" y="883762"/>
                      <a:pt x="2087367" y="883762"/>
                      <a:pt x="2087367" y="883762"/>
                    </a:cubicBezTo>
                    <a:cubicBezTo>
                      <a:pt x="2086008" y="885119"/>
                      <a:pt x="2084649" y="886476"/>
                      <a:pt x="2083291" y="887834"/>
                    </a:cubicBezTo>
                    <a:cubicBezTo>
                      <a:pt x="2034380" y="929910"/>
                      <a:pt x="2034380" y="929910"/>
                      <a:pt x="2034380" y="929910"/>
                    </a:cubicBezTo>
                    <a:cubicBezTo>
                      <a:pt x="2033021" y="931268"/>
                      <a:pt x="2031663" y="931268"/>
                      <a:pt x="2028946" y="932625"/>
                    </a:cubicBezTo>
                    <a:cubicBezTo>
                      <a:pt x="1982752" y="947555"/>
                      <a:pt x="1982752" y="947555"/>
                      <a:pt x="1982752" y="947555"/>
                    </a:cubicBezTo>
                    <a:cubicBezTo>
                      <a:pt x="1981394" y="947555"/>
                      <a:pt x="1980035" y="947555"/>
                      <a:pt x="1978676" y="947555"/>
                    </a:cubicBezTo>
                    <a:cubicBezTo>
                      <a:pt x="1977318" y="947555"/>
                      <a:pt x="1974600" y="947555"/>
                      <a:pt x="1973242" y="946198"/>
                    </a:cubicBezTo>
                    <a:cubicBezTo>
                      <a:pt x="1946069" y="935340"/>
                      <a:pt x="1935200" y="928553"/>
                      <a:pt x="1933841" y="919052"/>
                    </a:cubicBezTo>
                    <a:cubicBezTo>
                      <a:pt x="1931124" y="914980"/>
                      <a:pt x="1924331" y="902764"/>
                      <a:pt x="1917538" y="891905"/>
                    </a:cubicBezTo>
                    <a:cubicBezTo>
                      <a:pt x="1883572" y="864759"/>
                      <a:pt x="1883572" y="864759"/>
                      <a:pt x="1883572" y="864759"/>
                    </a:cubicBezTo>
                    <a:cubicBezTo>
                      <a:pt x="1814282" y="900050"/>
                      <a:pt x="1814282" y="900050"/>
                      <a:pt x="1814282" y="900050"/>
                    </a:cubicBezTo>
                    <a:cubicBezTo>
                      <a:pt x="1812923" y="901407"/>
                      <a:pt x="1811565" y="901407"/>
                      <a:pt x="1808847" y="901407"/>
                    </a:cubicBezTo>
                    <a:cubicBezTo>
                      <a:pt x="1740916" y="905479"/>
                      <a:pt x="1740916" y="905479"/>
                      <a:pt x="1740916" y="905479"/>
                    </a:cubicBezTo>
                    <a:cubicBezTo>
                      <a:pt x="1735481" y="905479"/>
                      <a:pt x="1731405" y="902764"/>
                      <a:pt x="1728688" y="898692"/>
                    </a:cubicBezTo>
                    <a:cubicBezTo>
                      <a:pt x="1725971" y="894621"/>
                      <a:pt x="1725971" y="889191"/>
                      <a:pt x="1727330" y="885119"/>
                    </a:cubicBezTo>
                    <a:cubicBezTo>
                      <a:pt x="1736840" y="867474"/>
                      <a:pt x="1736840" y="867474"/>
                      <a:pt x="1736840" y="867474"/>
                    </a:cubicBezTo>
                    <a:cubicBezTo>
                      <a:pt x="1743633" y="762962"/>
                      <a:pt x="1743633" y="762962"/>
                      <a:pt x="1743633" y="762962"/>
                    </a:cubicBezTo>
                    <a:cubicBezTo>
                      <a:pt x="1743633" y="756176"/>
                      <a:pt x="1747709" y="752104"/>
                      <a:pt x="1754502" y="750746"/>
                    </a:cubicBezTo>
                    <a:cubicBezTo>
                      <a:pt x="1810206" y="735816"/>
                      <a:pt x="1810206" y="735816"/>
                      <a:pt x="1810206" y="735816"/>
                    </a:cubicBezTo>
                    <a:cubicBezTo>
                      <a:pt x="1827868" y="716814"/>
                      <a:pt x="1827868" y="716814"/>
                      <a:pt x="1827868" y="716814"/>
                    </a:cubicBezTo>
                    <a:cubicBezTo>
                      <a:pt x="1827868" y="716814"/>
                      <a:pt x="1827868" y="715457"/>
                      <a:pt x="1829227" y="715457"/>
                    </a:cubicBezTo>
                    <a:cubicBezTo>
                      <a:pt x="1882213" y="676095"/>
                      <a:pt x="1882213" y="676095"/>
                      <a:pt x="1882213" y="676095"/>
                    </a:cubicBezTo>
                    <a:cubicBezTo>
                      <a:pt x="1886289" y="672023"/>
                      <a:pt x="1891724" y="672023"/>
                      <a:pt x="1897158" y="674738"/>
                    </a:cubicBezTo>
                    <a:cubicBezTo>
                      <a:pt x="1909386" y="681524"/>
                      <a:pt x="1909386" y="681524"/>
                      <a:pt x="1909386" y="681524"/>
                    </a:cubicBezTo>
                    <a:cubicBezTo>
                      <a:pt x="1917538" y="661165"/>
                      <a:pt x="1917538" y="661165"/>
                      <a:pt x="1917538" y="661165"/>
                    </a:cubicBezTo>
                    <a:cubicBezTo>
                      <a:pt x="1920255" y="655735"/>
                      <a:pt x="1925689" y="653021"/>
                      <a:pt x="1932483" y="653021"/>
                    </a:cubicBezTo>
                    <a:close/>
                    <a:moveTo>
                      <a:pt x="1240163" y="639645"/>
                    </a:moveTo>
                    <a:cubicBezTo>
                      <a:pt x="1245456" y="640995"/>
                      <a:pt x="1248103" y="645045"/>
                      <a:pt x="1249426" y="650445"/>
                    </a:cubicBezTo>
                    <a:cubicBezTo>
                      <a:pt x="1254719" y="677444"/>
                      <a:pt x="1254719" y="677444"/>
                      <a:pt x="1254719" y="677444"/>
                    </a:cubicBezTo>
                    <a:cubicBezTo>
                      <a:pt x="1254719" y="680144"/>
                      <a:pt x="1254719" y="681494"/>
                      <a:pt x="1253396" y="684194"/>
                    </a:cubicBezTo>
                    <a:cubicBezTo>
                      <a:pt x="1220314" y="790841"/>
                      <a:pt x="1220314" y="790841"/>
                      <a:pt x="1220314" y="790841"/>
                    </a:cubicBezTo>
                    <a:cubicBezTo>
                      <a:pt x="1218990" y="794890"/>
                      <a:pt x="1216344" y="798940"/>
                      <a:pt x="1212374" y="800290"/>
                    </a:cubicBezTo>
                    <a:cubicBezTo>
                      <a:pt x="1209727" y="800290"/>
                      <a:pt x="1208404" y="800290"/>
                      <a:pt x="1207081" y="800290"/>
                    </a:cubicBezTo>
                    <a:cubicBezTo>
                      <a:pt x="1204434" y="800290"/>
                      <a:pt x="1201788" y="800290"/>
                      <a:pt x="1200464" y="798940"/>
                    </a:cubicBezTo>
                    <a:cubicBezTo>
                      <a:pt x="1171352" y="780041"/>
                      <a:pt x="1171352" y="780041"/>
                      <a:pt x="1171352" y="780041"/>
                    </a:cubicBezTo>
                    <a:cubicBezTo>
                      <a:pt x="1166059" y="777341"/>
                      <a:pt x="1163412" y="769241"/>
                      <a:pt x="1167382" y="762491"/>
                    </a:cubicBezTo>
                    <a:cubicBezTo>
                      <a:pt x="1173998" y="747642"/>
                      <a:pt x="1173998" y="747642"/>
                      <a:pt x="1173998" y="747642"/>
                    </a:cubicBezTo>
                    <a:cubicBezTo>
                      <a:pt x="1177968" y="708493"/>
                      <a:pt x="1177968" y="708493"/>
                      <a:pt x="1177968" y="708493"/>
                    </a:cubicBezTo>
                    <a:cubicBezTo>
                      <a:pt x="1177968" y="707143"/>
                      <a:pt x="1179292" y="704443"/>
                      <a:pt x="1180615" y="703093"/>
                    </a:cubicBezTo>
                    <a:cubicBezTo>
                      <a:pt x="1193848" y="681494"/>
                      <a:pt x="1193848" y="681494"/>
                      <a:pt x="1193848" y="681494"/>
                    </a:cubicBezTo>
                    <a:cubicBezTo>
                      <a:pt x="1195171" y="680144"/>
                      <a:pt x="1195171" y="680144"/>
                      <a:pt x="1195171" y="680144"/>
                    </a:cubicBezTo>
                    <a:cubicBezTo>
                      <a:pt x="1225607" y="643695"/>
                      <a:pt x="1225607" y="643695"/>
                      <a:pt x="1225607" y="643695"/>
                    </a:cubicBezTo>
                    <a:cubicBezTo>
                      <a:pt x="1229577" y="639645"/>
                      <a:pt x="1234870" y="638295"/>
                      <a:pt x="1240163" y="639645"/>
                    </a:cubicBezTo>
                    <a:close/>
                    <a:moveTo>
                      <a:pt x="1873160" y="595523"/>
                    </a:moveTo>
                    <a:cubicBezTo>
                      <a:pt x="1892106" y="598340"/>
                      <a:pt x="1892106" y="598340"/>
                      <a:pt x="1892106" y="598340"/>
                    </a:cubicBezTo>
                    <a:cubicBezTo>
                      <a:pt x="1900226" y="598340"/>
                      <a:pt x="1905639" y="606793"/>
                      <a:pt x="1904286" y="613836"/>
                    </a:cubicBezTo>
                    <a:cubicBezTo>
                      <a:pt x="1904286" y="620879"/>
                      <a:pt x="1897519" y="626514"/>
                      <a:pt x="1890753" y="626514"/>
                    </a:cubicBezTo>
                    <a:cubicBezTo>
                      <a:pt x="1890753" y="626514"/>
                      <a:pt x="1889399" y="626514"/>
                      <a:pt x="1889399" y="626514"/>
                    </a:cubicBezTo>
                    <a:cubicBezTo>
                      <a:pt x="1869100" y="623697"/>
                      <a:pt x="1869100" y="623697"/>
                      <a:pt x="1869100" y="623697"/>
                    </a:cubicBezTo>
                    <a:cubicBezTo>
                      <a:pt x="1860980" y="622288"/>
                      <a:pt x="1855567" y="615245"/>
                      <a:pt x="1856920" y="608201"/>
                    </a:cubicBezTo>
                    <a:cubicBezTo>
                      <a:pt x="1858273" y="599749"/>
                      <a:pt x="1865040" y="594114"/>
                      <a:pt x="1873160" y="595523"/>
                    </a:cubicBezTo>
                    <a:close/>
                    <a:moveTo>
                      <a:pt x="1786237" y="576258"/>
                    </a:moveTo>
                    <a:cubicBezTo>
                      <a:pt x="1843331" y="590064"/>
                      <a:pt x="1843331" y="590064"/>
                      <a:pt x="1843331" y="590064"/>
                    </a:cubicBezTo>
                    <a:cubicBezTo>
                      <a:pt x="1851488" y="591445"/>
                      <a:pt x="1855566" y="599729"/>
                      <a:pt x="1854206" y="606632"/>
                    </a:cubicBezTo>
                    <a:cubicBezTo>
                      <a:pt x="1852847" y="613535"/>
                      <a:pt x="1846050" y="617677"/>
                      <a:pt x="1840613" y="617677"/>
                    </a:cubicBezTo>
                    <a:cubicBezTo>
                      <a:pt x="1839253" y="617677"/>
                      <a:pt x="1837894" y="617677"/>
                      <a:pt x="1836534" y="617677"/>
                    </a:cubicBezTo>
                    <a:cubicBezTo>
                      <a:pt x="1779440" y="603871"/>
                      <a:pt x="1779440" y="603871"/>
                      <a:pt x="1779440" y="603871"/>
                    </a:cubicBezTo>
                    <a:cubicBezTo>
                      <a:pt x="1771284" y="601109"/>
                      <a:pt x="1767206" y="594206"/>
                      <a:pt x="1768565" y="585922"/>
                    </a:cubicBezTo>
                    <a:cubicBezTo>
                      <a:pt x="1771284" y="579019"/>
                      <a:pt x="1778081" y="573496"/>
                      <a:pt x="1786237" y="576258"/>
                    </a:cubicBezTo>
                    <a:close/>
                    <a:moveTo>
                      <a:pt x="2161884" y="536749"/>
                    </a:moveTo>
                    <a:cubicBezTo>
                      <a:pt x="2165522" y="536578"/>
                      <a:pt x="2169334" y="537948"/>
                      <a:pt x="2172106" y="540687"/>
                    </a:cubicBezTo>
                    <a:cubicBezTo>
                      <a:pt x="2187353" y="553017"/>
                      <a:pt x="2187353" y="553017"/>
                      <a:pt x="2187353" y="553017"/>
                    </a:cubicBezTo>
                    <a:cubicBezTo>
                      <a:pt x="2192897" y="557127"/>
                      <a:pt x="2194283" y="563976"/>
                      <a:pt x="2190125" y="570826"/>
                    </a:cubicBezTo>
                    <a:lnTo>
                      <a:pt x="2186633" y="577154"/>
                    </a:lnTo>
                    <a:lnTo>
                      <a:pt x="2196384" y="571875"/>
                    </a:lnTo>
                    <a:cubicBezTo>
                      <a:pt x="2199983" y="571544"/>
                      <a:pt x="2203753" y="572536"/>
                      <a:pt x="2207181" y="574519"/>
                    </a:cubicBezTo>
                    <a:cubicBezTo>
                      <a:pt x="2253799" y="611547"/>
                      <a:pt x="2253799" y="611547"/>
                      <a:pt x="2253799" y="611547"/>
                    </a:cubicBezTo>
                    <a:cubicBezTo>
                      <a:pt x="2260655" y="615514"/>
                      <a:pt x="2262026" y="624771"/>
                      <a:pt x="2256542" y="630061"/>
                    </a:cubicBezTo>
                    <a:cubicBezTo>
                      <a:pt x="2253799" y="634028"/>
                      <a:pt x="2249686" y="635350"/>
                      <a:pt x="2245573" y="635350"/>
                    </a:cubicBezTo>
                    <a:cubicBezTo>
                      <a:pt x="2242830" y="635350"/>
                      <a:pt x="2240088" y="634028"/>
                      <a:pt x="2237346" y="632705"/>
                    </a:cubicBezTo>
                    <a:cubicBezTo>
                      <a:pt x="2189357" y="595678"/>
                      <a:pt x="2189357" y="595678"/>
                      <a:pt x="2189357" y="595678"/>
                    </a:cubicBezTo>
                    <a:cubicBezTo>
                      <a:pt x="2186614" y="593695"/>
                      <a:pt x="2184900" y="590388"/>
                      <a:pt x="2184386" y="586917"/>
                    </a:cubicBezTo>
                    <a:lnTo>
                      <a:pt x="2186605" y="577204"/>
                    </a:lnTo>
                    <a:lnTo>
                      <a:pt x="2182848" y="584012"/>
                    </a:lnTo>
                    <a:cubicBezTo>
                      <a:pt x="2181808" y="585896"/>
                      <a:pt x="2181808" y="585896"/>
                      <a:pt x="2181808" y="585896"/>
                    </a:cubicBezTo>
                    <a:cubicBezTo>
                      <a:pt x="2179036" y="591375"/>
                      <a:pt x="2173492" y="594115"/>
                      <a:pt x="2169334" y="594115"/>
                    </a:cubicBezTo>
                    <a:cubicBezTo>
                      <a:pt x="2166562" y="594115"/>
                      <a:pt x="2163790" y="592745"/>
                      <a:pt x="2162404" y="591375"/>
                    </a:cubicBezTo>
                    <a:cubicBezTo>
                      <a:pt x="2155473" y="588636"/>
                      <a:pt x="2152701" y="579046"/>
                      <a:pt x="2156859" y="572196"/>
                    </a:cubicBezTo>
                    <a:cubicBezTo>
                      <a:pt x="2159631" y="566716"/>
                      <a:pt x="2159631" y="566716"/>
                      <a:pt x="2159631" y="566716"/>
                    </a:cubicBezTo>
                    <a:cubicBezTo>
                      <a:pt x="2154087" y="561236"/>
                      <a:pt x="2154087" y="561236"/>
                      <a:pt x="2154087" y="561236"/>
                    </a:cubicBezTo>
                    <a:cubicBezTo>
                      <a:pt x="2147157" y="555757"/>
                      <a:pt x="2147157" y="547537"/>
                      <a:pt x="2152701" y="542057"/>
                    </a:cubicBezTo>
                    <a:cubicBezTo>
                      <a:pt x="2154780" y="538633"/>
                      <a:pt x="2158245" y="536920"/>
                      <a:pt x="2161884" y="536749"/>
                    </a:cubicBezTo>
                    <a:close/>
                    <a:moveTo>
                      <a:pt x="2000032" y="518887"/>
                    </a:moveTo>
                    <a:cubicBezTo>
                      <a:pt x="2005514" y="517535"/>
                      <a:pt x="2010995" y="518887"/>
                      <a:pt x="2013736" y="522945"/>
                    </a:cubicBezTo>
                    <a:cubicBezTo>
                      <a:pt x="2024700" y="537822"/>
                      <a:pt x="2024700" y="537822"/>
                      <a:pt x="2024700" y="537822"/>
                    </a:cubicBezTo>
                    <a:cubicBezTo>
                      <a:pt x="2039774" y="531059"/>
                      <a:pt x="2039774" y="531059"/>
                      <a:pt x="2039774" y="531059"/>
                    </a:cubicBezTo>
                    <a:cubicBezTo>
                      <a:pt x="2043885" y="529707"/>
                      <a:pt x="2047997" y="529707"/>
                      <a:pt x="2052108" y="531059"/>
                    </a:cubicBezTo>
                    <a:cubicBezTo>
                      <a:pt x="2128851" y="570281"/>
                      <a:pt x="2128851" y="570281"/>
                      <a:pt x="2128851" y="570281"/>
                    </a:cubicBezTo>
                    <a:cubicBezTo>
                      <a:pt x="2130221" y="570281"/>
                      <a:pt x="2131592" y="571634"/>
                      <a:pt x="2132962" y="574339"/>
                    </a:cubicBezTo>
                    <a:cubicBezTo>
                      <a:pt x="2175445" y="628437"/>
                      <a:pt x="2175445" y="628437"/>
                      <a:pt x="2175445" y="628437"/>
                    </a:cubicBezTo>
                    <a:cubicBezTo>
                      <a:pt x="2179556" y="633847"/>
                      <a:pt x="2178185" y="640609"/>
                      <a:pt x="2174074" y="646019"/>
                    </a:cubicBezTo>
                    <a:cubicBezTo>
                      <a:pt x="2171333" y="648724"/>
                      <a:pt x="2167222" y="650076"/>
                      <a:pt x="2163111" y="650076"/>
                    </a:cubicBezTo>
                    <a:cubicBezTo>
                      <a:pt x="2160370" y="650076"/>
                      <a:pt x="2157629" y="650076"/>
                      <a:pt x="2156259" y="647371"/>
                    </a:cubicBezTo>
                    <a:cubicBezTo>
                      <a:pt x="2104183" y="613560"/>
                      <a:pt x="2104183" y="613560"/>
                      <a:pt x="2104183" y="613560"/>
                    </a:cubicBezTo>
                    <a:cubicBezTo>
                      <a:pt x="2093220" y="624380"/>
                      <a:pt x="2093220" y="624380"/>
                      <a:pt x="2093220" y="624380"/>
                    </a:cubicBezTo>
                    <a:cubicBezTo>
                      <a:pt x="2089109" y="628437"/>
                      <a:pt x="2082257" y="629789"/>
                      <a:pt x="2076775" y="627084"/>
                    </a:cubicBezTo>
                    <a:cubicBezTo>
                      <a:pt x="2038404" y="608150"/>
                      <a:pt x="2038404" y="608150"/>
                      <a:pt x="2038404" y="608150"/>
                    </a:cubicBezTo>
                    <a:cubicBezTo>
                      <a:pt x="2032922" y="605445"/>
                      <a:pt x="2028811" y="598683"/>
                      <a:pt x="2030181" y="593273"/>
                    </a:cubicBezTo>
                    <a:cubicBezTo>
                      <a:pt x="2031552" y="589216"/>
                      <a:pt x="2031552" y="589216"/>
                      <a:pt x="2031552" y="589216"/>
                    </a:cubicBezTo>
                    <a:cubicBezTo>
                      <a:pt x="1991810" y="572986"/>
                      <a:pt x="1991810" y="572986"/>
                      <a:pt x="1991810" y="572986"/>
                    </a:cubicBezTo>
                    <a:cubicBezTo>
                      <a:pt x="1984958" y="570281"/>
                      <a:pt x="1982217" y="563518"/>
                      <a:pt x="1983587" y="556756"/>
                    </a:cubicBezTo>
                    <a:cubicBezTo>
                      <a:pt x="1989069" y="529707"/>
                      <a:pt x="1989069" y="529707"/>
                      <a:pt x="1989069" y="529707"/>
                    </a:cubicBezTo>
                    <a:cubicBezTo>
                      <a:pt x="1990439" y="524297"/>
                      <a:pt x="1994551" y="520240"/>
                      <a:pt x="2000032" y="518887"/>
                    </a:cubicBezTo>
                    <a:close/>
                    <a:moveTo>
                      <a:pt x="1925562" y="502808"/>
                    </a:moveTo>
                    <a:cubicBezTo>
                      <a:pt x="1947738" y="502808"/>
                      <a:pt x="1947738" y="502808"/>
                      <a:pt x="1947738" y="502808"/>
                    </a:cubicBezTo>
                    <a:cubicBezTo>
                      <a:pt x="1954669" y="502808"/>
                      <a:pt x="1961599" y="509626"/>
                      <a:pt x="1961599" y="516444"/>
                    </a:cubicBezTo>
                    <a:cubicBezTo>
                      <a:pt x="1961599" y="524626"/>
                      <a:pt x="1954669" y="531444"/>
                      <a:pt x="1947738" y="531444"/>
                    </a:cubicBezTo>
                    <a:cubicBezTo>
                      <a:pt x="1935264" y="531444"/>
                      <a:pt x="1935264" y="531444"/>
                      <a:pt x="1935264" y="531444"/>
                    </a:cubicBezTo>
                    <a:cubicBezTo>
                      <a:pt x="1920018" y="568261"/>
                      <a:pt x="1920018" y="568261"/>
                      <a:pt x="1920018" y="568261"/>
                    </a:cubicBezTo>
                    <a:cubicBezTo>
                      <a:pt x="1917246" y="573716"/>
                      <a:pt x="1911701" y="576443"/>
                      <a:pt x="1906157" y="576443"/>
                    </a:cubicBezTo>
                    <a:cubicBezTo>
                      <a:pt x="1904771" y="576443"/>
                      <a:pt x="1903385" y="576443"/>
                      <a:pt x="1900613" y="575080"/>
                    </a:cubicBezTo>
                    <a:cubicBezTo>
                      <a:pt x="1893683" y="572352"/>
                      <a:pt x="1890911" y="564170"/>
                      <a:pt x="1893683" y="557352"/>
                    </a:cubicBezTo>
                    <a:cubicBezTo>
                      <a:pt x="1911701" y="510989"/>
                      <a:pt x="1911701" y="510989"/>
                      <a:pt x="1911701" y="510989"/>
                    </a:cubicBezTo>
                    <a:cubicBezTo>
                      <a:pt x="1914474" y="506899"/>
                      <a:pt x="1920018" y="502808"/>
                      <a:pt x="1925562" y="502808"/>
                    </a:cubicBezTo>
                    <a:close/>
                    <a:moveTo>
                      <a:pt x="1690287" y="469187"/>
                    </a:moveTo>
                    <a:cubicBezTo>
                      <a:pt x="1693686" y="469531"/>
                      <a:pt x="1696744" y="470908"/>
                      <a:pt x="1698783" y="472973"/>
                    </a:cubicBezTo>
                    <a:cubicBezTo>
                      <a:pt x="1757237" y="534922"/>
                      <a:pt x="1757237" y="534922"/>
                      <a:pt x="1757237" y="534922"/>
                    </a:cubicBezTo>
                    <a:cubicBezTo>
                      <a:pt x="1759956" y="539052"/>
                      <a:pt x="1761315" y="543182"/>
                      <a:pt x="1761315" y="547311"/>
                    </a:cubicBezTo>
                    <a:cubicBezTo>
                      <a:pt x="1754518" y="583104"/>
                      <a:pt x="1754518" y="583104"/>
                      <a:pt x="1754518" y="583104"/>
                    </a:cubicBezTo>
                    <a:cubicBezTo>
                      <a:pt x="1753159" y="588611"/>
                      <a:pt x="1749081" y="592741"/>
                      <a:pt x="1743643" y="594117"/>
                    </a:cubicBezTo>
                    <a:cubicBezTo>
                      <a:pt x="1742284" y="594117"/>
                      <a:pt x="1740924" y="594117"/>
                      <a:pt x="1740924" y="594117"/>
                    </a:cubicBezTo>
                    <a:cubicBezTo>
                      <a:pt x="1736846" y="594117"/>
                      <a:pt x="1732768" y="592741"/>
                      <a:pt x="1730049" y="589987"/>
                    </a:cubicBezTo>
                    <a:cubicBezTo>
                      <a:pt x="1713737" y="572091"/>
                      <a:pt x="1713737" y="572091"/>
                      <a:pt x="1713737" y="572091"/>
                    </a:cubicBezTo>
                    <a:cubicBezTo>
                      <a:pt x="1712377" y="570714"/>
                      <a:pt x="1711018" y="569338"/>
                      <a:pt x="1709659" y="566584"/>
                    </a:cubicBezTo>
                    <a:cubicBezTo>
                      <a:pt x="1705580" y="551441"/>
                      <a:pt x="1698783" y="528038"/>
                      <a:pt x="1697424" y="522532"/>
                    </a:cubicBezTo>
                    <a:cubicBezTo>
                      <a:pt x="1694705" y="518402"/>
                      <a:pt x="1685190" y="503259"/>
                      <a:pt x="1677033" y="490869"/>
                    </a:cubicBezTo>
                    <a:cubicBezTo>
                      <a:pt x="1672955" y="485363"/>
                      <a:pt x="1674315" y="477103"/>
                      <a:pt x="1679752" y="471596"/>
                    </a:cubicBezTo>
                    <a:cubicBezTo>
                      <a:pt x="1683151" y="469531"/>
                      <a:pt x="1686889" y="468843"/>
                      <a:pt x="1690287" y="469187"/>
                    </a:cubicBezTo>
                    <a:close/>
                    <a:moveTo>
                      <a:pt x="1876320" y="438012"/>
                    </a:moveTo>
                    <a:cubicBezTo>
                      <a:pt x="1883091" y="438012"/>
                      <a:pt x="1887154" y="439390"/>
                      <a:pt x="1907467" y="468343"/>
                    </a:cubicBezTo>
                    <a:cubicBezTo>
                      <a:pt x="1910175" y="471100"/>
                      <a:pt x="1911529" y="476615"/>
                      <a:pt x="1910175" y="480751"/>
                    </a:cubicBezTo>
                    <a:cubicBezTo>
                      <a:pt x="1884445" y="557957"/>
                      <a:pt x="1884445" y="557957"/>
                      <a:pt x="1884445" y="557957"/>
                    </a:cubicBezTo>
                    <a:cubicBezTo>
                      <a:pt x="1883091" y="563471"/>
                      <a:pt x="1877675" y="567607"/>
                      <a:pt x="1870904" y="567607"/>
                    </a:cubicBezTo>
                    <a:cubicBezTo>
                      <a:pt x="1870904" y="567607"/>
                      <a:pt x="1869549" y="567607"/>
                      <a:pt x="1868195" y="567607"/>
                    </a:cubicBezTo>
                    <a:cubicBezTo>
                      <a:pt x="1815382" y="552442"/>
                      <a:pt x="1815382" y="552442"/>
                      <a:pt x="1815382" y="552442"/>
                    </a:cubicBezTo>
                    <a:cubicBezTo>
                      <a:pt x="1809965" y="552442"/>
                      <a:pt x="1807257" y="548306"/>
                      <a:pt x="1805903" y="544170"/>
                    </a:cubicBezTo>
                    <a:cubicBezTo>
                      <a:pt x="1795069" y="515218"/>
                      <a:pt x="1795069" y="515218"/>
                      <a:pt x="1795069" y="515218"/>
                    </a:cubicBezTo>
                    <a:cubicBezTo>
                      <a:pt x="1793715" y="511082"/>
                      <a:pt x="1793715" y="506946"/>
                      <a:pt x="1795069" y="504188"/>
                    </a:cubicBezTo>
                    <a:cubicBezTo>
                      <a:pt x="1796423" y="500052"/>
                      <a:pt x="1799132" y="497295"/>
                      <a:pt x="1803194" y="495916"/>
                    </a:cubicBezTo>
                    <a:cubicBezTo>
                      <a:pt x="1811320" y="493159"/>
                      <a:pt x="1820799" y="490402"/>
                      <a:pt x="1824861" y="487644"/>
                    </a:cubicBezTo>
                    <a:cubicBezTo>
                      <a:pt x="1828924" y="482130"/>
                      <a:pt x="1838403" y="471100"/>
                      <a:pt x="1843820" y="465585"/>
                    </a:cubicBezTo>
                    <a:cubicBezTo>
                      <a:pt x="1865487" y="439390"/>
                      <a:pt x="1869549" y="438012"/>
                      <a:pt x="1876320" y="438012"/>
                    </a:cubicBezTo>
                    <a:close/>
                    <a:moveTo>
                      <a:pt x="2043368" y="420340"/>
                    </a:moveTo>
                    <a:cubicBezTo>
                      <a:pt x="2051784" y="420340"/>
                      <a:pt x="2058796" y="427137"/>
                      <a:pt x="2058796" y="433934"/>
                    </a:cubicBezTo>
                    <a:cubicBezTo>
                      <a:pt x="2058796" y="442090"/>
                      <a:pt x="2058796" y="442090"/>
                      <a:pt x="2058796" y="442090"/>
                    </a:cubicBezTo>
                    <a:cubicBezTo>
                      <a:pt x="2058796" y="450246"/>
                      <a:pt x="2051784" y="455684"/>
                      <a:pt x="2043368" y="455684"/>
                    </a:cubicBezTo>
                    <a:cubicBezTo>
                      <a:pt x="2036356" y="455684"/>
                      <a:pt x="2029343" y="450246"/>
                      <a:pt x="2029343" y="442090"/>
                    </a:cubicBezTo>
                    <a:cubicBezTo>
                      <a:pt x="2029343" y="433934"/>
                      <a:pt x="2029343" y="433934"/>
                      <a:pt x="2029343" y="433934"/>
                    </a:cubicBezTo>
                    <a:cubicBezTo>
                      <a:pt x="2029343" y="427137"/>
                      <a:pt x="2036356" y="420340"/>
                      <a:pt x="2043368" y="420340"/>
                    </a:cubicBezTo>
                    <a:close/>
                    <a:moveTo>
                      <a:pt x="1953568" y="411331"/>
                    </a:moveTo>
                    <a:cubicBezTo>
                      <a:pt x="1958923" y="408559"/>
                      <a:pt x="1964278" y="408559"/>
                      <a:pt x="1969633" y="412717"/>
                    </a:cubicBezTo>
                    <a:cubicBezTo>
                      <a:pt x="1973650" y="415489"/>
                      <a:pt x="1976327" y="422419"/>
                      <a:pt x="1974988" y="427963"/>
                    </a:cubicBezTo>
                    <a:cubicBezTo>
                      <a:pt x="1962939" y="469545"/>
                      <a:pt x="1962939" y="469545"/>
                      <a:pt x="1962939" y="469545"/>
                    </a:cubicBezTo>
                    <a:cubicBezTo>
                      <a:pt x="1961600" y="473703"/>
                      <a:pt x="1957584" y="477861"/>
                      <a:pt x="1952229" y="479247"/>
                    </a:cubicBezTo>
                    <a:cubicBezTo>
                      <a:pt x="1952229" y="479247"/>
                      <a:pt x="1950890" y="479247"/>
                      <a:pt x="1949551" y="479247"/>
                    </a:cubicBezTo>
                    <a:cubicBezTo>
                      <a:pt x="1945535" y="479247"/>
                      <a:pt x="1941518" y="477861"/>
                      <a:pt x="1938841" y="475089"/>
                    </a:cubicBezTo>
                    <a:cubicBezTo>
                      <a:pt x="1921437" y="454298"/>
                      <a:pt x="1921437" y="454298"/>
                      <a:pt x="1921437" y="454298"/>
                    </a:cubicBezTo>
                    <a:cubicBezTo>
                      <a:pt x="1918759" y="451526"/>
                      <a:pt x="1917420" y="447368"/>
                      <a:pt x="1917420" y="443210"/>
                    </a:cubicBezTo>
                    <a:cubicBezTo>
                      <a:pt x="1918759" y="439052"/>
                      <a:pt x="1920098" y="434893"/>
                      <a:pt x="1924114" y="432121"/>
                    </a:cubicBezTo>
                    <a:cubicBezTo>
                      <a:pt x="1953568" y="411331"/>
                      <a:pt x="1953568" y="411331"/>
                      <a:pt x="1953568" y="411331"/>
                    </a:cubicBezTo>
                    <a:close/>
                    <a:moveTo>
                      <a:pt x="1905534" y="398157"/>
                    </a:moveTo>
                    <a:cubicBezTo>
                      <a:pt x="1909158" y="397812"/>
                      <a:pt x="1912955" y="398848"/>
                      <a:pt x="1916407" y="400919"/>
                    </a:cubicBezTo>
                    <a:cubicBezTo>
                      <a:pt x="1921929" y="406441"/>
                      <a:pt x="1923310" y="414725"/>
                      <a:pt x="1917788" y="421629"/>
                    </a:cubicBezTo>
                    <a:cubicBezTo>
                      <a:pt x="1906742" y="435435"/>
                      <a:pt x="1906742" y="435435"/>
                      <a:pt x="1906742" y="435435"/>
                    </a:cubicBezTo>
                    <a:cubicBezTo>
                      <a:pt x="1903981" y="438196"/>
                      <a:pt x="1899839" y="440958"/>
                      <a:pt x="1895697" y="440958"/>
                    </a:cubicBezTo>
                    <a:cubicBezTo>
                      <a:pt x="1892936" y="440958"/>
                      <a:pt x="1888794" y="439577"/>
                      <a:pt x="1887413" y="436816"/>
                    </a:cubicBezTo>
                    <a:cubicBezTo>
                      <a:pt x="1880510" y="432674"/>
                      <a:pt x="1879129" y="423009"/>
                      <a:pt x="1884652" y="417487"/>
                    </a:cubicBezTo>
                    <a:cubicBezTo>
                      <a:pt x="1895697" y="403680"/>
                      <a:pt x="1895697" y="403680"/>
                      <a:pt x="1895697" y="403680"/>
                    </a:cubicBezTo>
                    <a:cubicBezTo>
                      <a:pt x="1898458" y="400229"/>
                      <a:pt x="1901910" y="398503"/>
                      <a:pt x="1905534" y="398157"/>
                    </a:cubicBezTo>
                    <a:close/>
                    <a:moveTo>
                      <a:pt x="225483" y="352344"/>
                    </a:moveTo>
                    <a:cubicBezTo>
                      <a:pt x="233337" y="349651"/>
                      <a:pt x="239883" y="353691"/>
                      <a:pt x="242501" y="361769"/>
                    </a:cubicBezTo>
                    <a:cubicBezTo>
                      <a:pt x="249046" y="379273"/>
                      <a:pt x="249046" y="379273"/>
                      <a:pt x="249046" y="379273"/>
                    </a:cubicBezTo>
                    <a:cubicBezTo>
                      <a:pt x="250355" y="386006"/>
                      <a:pt x="246428" y="394084"/>
                      <a:pt x="239883" y="396777"/>
                    </a:cubicBezTo>
                    <a:cubicBezTo>
                      <a:pt x="238574" y="396777"/>
                      <a:pt x="237265" y="396777"/>
                      <a:pt x="235956" y="396777"/>
                    </a:cubicBezTo>
                    <a:cubicBezTo>
                      <a:pt x="229410" y="396777"/>
                      <a:pt x="224174" y="394084"/>
                      <a:pt x="222865" y="387352"/>
                    </a:cubicBezTo>
                    <a:cubicBezTo>
                      <a:pt x="217629" y="369848"/>
                      <a:pt x="217629" y="369848"/>
                      <a:pt x="217629" y="369848"/>
                    </a:cubicBezTo>
                    <a:cubicBezTo>
                      <a:pt x="215011" y="363116"/>
                      <a:pt x="218938" y="355037"/>
                      <a:pt x="225483" y="352344"/>
                    </a:cubicBezTo>
                    <a:close/>
                    <a:moveTo>
                      <a:pt x="161487" y="315725"/>
                    </a:moveTo>
                    <a:cubicBezTo>
                      <a:pt x="209019" y="322816"/>
                      <a:pt x="209019" y="322816"/>
                      <a:pt x="209019" y="322816"/>
                    </a:cubicBezTo>
                    <a:cubicBezTo>
                      <a:pt x="215621" y="324234"/>
                      <a:pt x="220902" y="331325"/>
                      <a:pt x="219582" y="339834"/>
                    </a:cubicBezTo>
                    <a:cubicBezTo>
                      <a:pt x="219582" y="346925"/>
                      <a:pt x="212980" y="352597"/>
                      <a:pt x="206378" y="352597"/>
                    </a:cubicBezTo>
                    <a:cubicBezTo>
                      <a:pt x="206378" y="352597"/>
                      <a:pt x="205058" y="352597"/>
                      <a:pt x="205058" y="352597"/>
                    </a:cubicBezTo>
                    <a:cubicBezTo>
                      <a:pt x="157526" y="344088"/>
                      <a:pt x="157526" y="344088"/>
                      <a:pt x="157526" y="344088"/>
                    </a:cubicBezTo>
                    <a:cubicBezTo>
                      <a:pt x="149604" y="344088"/>
                      <a:pt x="144323" y="335579"/>
                      <a:pt x="145643" y="328489"/>
                    </a:cubicBezTo>
                    <a:cubicBezTo>
                      <a:pt x="146964" y="319980"/>
                      <a:pt x="153565" y="314307"/>
                      <a:pt x="161487" y="315725"/>
                    </a:cubicBezTo>
                    <a:close/>
                    <a:moveTo>
                      <a:pt x="13723" y="287800"/>
                    </a:moveTo>
                    <a:cubicBezTo>
                      <a:pt x="56263" y="287800"/>
                      <a:pt x="56263" y="287800"/>
                      <a:pt x="56263" y="287800"/>
                    </a:cubicBezTo>
                    <a:cubicBezTo>
                      <a:pt x="57635" y="287800"/>
                      <a:pt x="60380" y="287800"/>
                      <a:pt x="63124" y="289165"/>
                    </a:cubicBezTo>
                    <a:cubicBezTo>
                      <a:pt x="82336" y="300085"/>
                      <a:pt x="82336" y="300085"/>
                      <a:pt x="82336" y="300085"/>
                    </a:cubicBezTo>
                    <a:cubicBezTo>
                      <a:pt x="111154" y="311004"/>
                      <a:pt x="111154" y="311004"/>
                      <a:pt x="111154" y="311004"/>
                    </a:cubicBezTo>
                    <a:cubicBezTo>
                      <a:pt x="116643" y="313734"/>
                      <a:pt x="120760" y="320558"/>
                      <a:pt x="119388" y="326018"/>
                    </a:cubicBezTo>
                    <a:cubicBezTo>
                      <a:pt x="118015" y="332843"/>
                      <a:pt x="113899" y="338303"/>
                      <a:pt x="107037" y="338303"/>
                    </a:cubicBezTo>
                    <a:cubicBezTo>
                      <a:pt x="53519" y="343762"/>
                      <a:pt x="53519" y="343762"/>
                      <a:pt x="53519" y="343762"/>
                    </a:cubicBezTo>
                    <a:cubicBezTo>
                      <a:pt x="53519" y="343762"/>
                      <a:pt x="52146" y="343762"/>
                      <a:pt x="52146" y="343762"/>
                    </a:cubicBezTo>
                    <a:cubicBezTo>
                      <a:pt x="45285" y="343762"/>
                      <a:pt x="38424" y="339667"/>
                      <a:pt x="38424" y="331478"/>
                    </a:cubicBezTo>
                    <a:cubicBezTo>
                      <a:pt x="37051" y="324653"/>
                      <a:pt x="42540" y="317829"/>
                      <a:pt x="50774" y="316464"/>
                    </a:cubicBezTo>
                    <a:cubicBezTo>
                      <a:pt x="53519" y="316464"/>
                      <a:pt x="53519" y="316464"/>
                      <a:pt x="53519" y="316464"/>
                    </a:cubicBezTo>
                    <a:cubicBezTo>
                      <a:pt x="52146" y="315099"/>
                      <a:pt x="52146" y="315099"/>
                      <a:pt x="52146" y="315099"/>
                    </a:cubicBezTo>
                    <a:cubicBezTo>
                      <a:pt x="13723" y="315099"/>
                      <a:pt x="13723" y="315099"/>
                      <a:pt x="13723" y="315099"/>
                    </a:cubicBezTo>
                    <a:cubicBezTo>
                      <a:pt x="5489" y="315099"/>
                      <a:pt x="0" y="309639"/>
                      <a:pt x="0" y="301450"/>
                    </a:cubicBezTo>
                    <a:cubicBezTo>
                      <a:pt x="0" y="293260"/>
                      <a:pt x="5489" y="287800"/>
                      <a:pt x="13723" y="287800"/>
                    </a:cubicBezTo>
                    <a:close/>
                    <a:moveTo>
                      <a:pt x="2026643" y="116970"/>
                    </a:moveTo>
                    <a:cubicBezTo>
                      <a:pt x="2030816" y="116970"/>
                      <a:pt x="2036379" y="119724"/>
                      <a:pt x="2037770" y="125232"/>
                    </a:cubicBezTo>
                    <a:cubicBezTo>
                      <a:pt x="2054460" y="155527"/>
                      <a:pt x="2054460" y="155527"/>
                      <a:pt x="2054460" y="155527"/>
                    </a:cubicBezTo>
                    <a:cubicBezTo>
                      <a:pt x="2054460" y="156904"/>
                      <a:pt x="2055851" y="159658"/>
                      <a:pt x="2055851" y="161035"/>
                    </a:cubicBezTo>
                    <a:cubicBezTo>
                      <a:pt x="2055851" y="165167"/>
                      <a:pt x="2054460" y="194084"/>
                      <a:pt x="2030816" y="203724"/>
                    </a:cubicBezTo>
                    <a:cubicBezTo>
                      <a:pt x="2015516" y="210609"/>
                      <a:pt x="1976572" y="223002"/>
                      <a:pt x="1975181" y="223002"/>
                    </a:cubicBezTo>
                    <a:cubicBezTo>
                      <a:pt x="1973790" y="223002"/>
                      <a:pt x="1972399" y="223002"/>
                      <a:pt x="1971009" y="223002"/>
                    </a:cubicBezTo>
                    <a:cubicBezTo>
                      <a:pt x="1966836" y="223002"/>
                      <a:pt x="1961273" y="221625"/>
                      <a:pt x="1958491" y="217494"/>
                    </a:cubicBezTo>
                    <a:cubicBezTo>
                      <a:pt x="1955709" y="211986"/>
                      <a:pt x="1955709" y="205101"/>
                      <a:pt x="1959882" y="200970"/>
                    </a:cubicBezTo>
                    <a:cubicBezTo>
                      <a:pt x="1986308" y="169298"/>
                      <a:pt x="1986308" y="169298"/>
                      <a:pt x="1986308" y="169298"/>
                    </a:cubicBezTo>
                    <a:cubicBezTo>
                      <a:pt x="2012734" y="123855"/>
                      <a:pt x="2012734" y="123855"/>
                      <a:pt x="2012734" y="123855"/>
                    </a:cubicBezTo>
                    <a:cubicBezTo>
                      <a:pt x="2015516" y="119724"/>
                      <a:pt x="2021080" y="116970"/>
                      <a:pt x="2026643" y="116970"/>
                    </a:cubicBezTo>
                    <a:close/>
                    <a:moveTo>
                      <a:pt x="1998723" y="59433"/>
                    </a:moveTo>
                    <a:cubicBezTo>
                      <a:pt x="2043182" y="74502"/>
                      <a:pt x="2043182" y="74502"/>
                      <a:pt x="2043182" y="74502"/>
                    </a:cubicBezTo>
                    <a:cubicBezTo>
                      <a:pt x="2048739" y="75872"/>
                      <a:pt x="2051518" y="81352"/>
                      <a:pt x="2052907" y="86831"/>
                    </a:cubicBezTo>
                    <a:cubicBezTo>
                      <a:pt x="2052907" y="93681"/>
                      <a:pt x="2048739" y="97791"/>
                      <a:pt x="2043182" y="100531"/>
                    </a:cubicBezTo>
                    <a:cubicBezTo>
                      <a:pt x="2009838" y="115600"/>
                      <a:pt x="2009838" y="115600"/>
                      <a:pt x="2009838" y="115600"/>
                    </a:cubicBezTo>
                    <a:cubicBezTo>
                      <a:pt x="2008448" y="115600"/>
                      <a:pt x="2005670" y="116970"/>
                      <a:pt x="2004280" y="116970"/>
                    </a:cubicBezTo>
                    <a:cubicBezTo>
                      <a:pt x="2001502" y="116970"/>
                      <a:pt x="2000112" y="115600"/>
                      <a:pt x="1998723" y="115600"/>
                    </a:cubicBezTo>
                    <a:cubicBezTo>
                      <a:pt x="1994555" y="112860"/>
                      <a:pt x="1991776" y="110120"/>
                      <a:pt x="1990387" y="106010"/>
                    </a:cubicBezTo>
                    <a:cubicBezTo>
                      <a:pt x="1980661" y="77242"/>
                      <a:pt x="1980661" y="77242"/>
                      <a:pt x="1980661" y="77242"/>
                    </a:cubicBezTo>
                    <a:cubicBezTo>
                      <a:pt x="1979272" y="73132"/>
                      <a:pt x="1980661" y="67652"/>
                      <a:pt x="1984829" y="63542"/>
                    </a:cubicBezTo>
                    <a:cubicBezTo>
                      <a:pt x="1988998" y="59433"/>
                      <a:pt x="1994555" y="58063"/>
                      <a:pt x="1998723" y="59433"/>
                    </a:cubicBezTo>
                    <a:close/>
                    <a:moveTo>
                      <a:pt x="365788" y="1938"/>
                    </a:moveTo>
                    <a:cubicBezTo>
                      <a:pt x="371303" y="6111"/>
                      <a:pt x="374060" y="13065"/>
                      <a:pt x="371303" y="20020"/>
                    </a:cubicBezTo>
                    <a:cubicBezTo>
                      <a:pt x="371303" y="20020"/>
                      <a:pt x="371303" y="20020"/>
                      <a:pt x="365788" y="31147"/>
                    </a:cubicBezTo>
                    <a:cubicBezTo>
                      <a:pt x="365788" y="31147"/>
                      <a:pt x="365788" y="31147"/>
                      <a:pt x="371303" y="42274"/>
                    </a:cubicBezTo>
                    <a:cubicBezTo>
                      <a:pt x="371303" y="43665"/>
                      <a:pt x="372681" y="46446"/>
                      <a:pt x="371303" y="49228"/>
                    </a:cubicBezTo>
                    <a:cubicBezTo>
                      <a:pt x="371303" y="49228"/>
                      <a:pt x="371303" y="49228"/>
                      <a:pt x="312019" y="49228"/>
                    </a:cubicBezTo>
                    <a:cubicBezTo>
                      <a:pt x="312019" y="47837"/>
                      <a:pt x="310641" y="46446"/>
                      <a:pt x="310641" y="45056"/>
                    </a:cubicBezTo>
                    <a:cubicBezTo>
                      <a:pt x="309262" y="39492"/>
                      <a:pt x="310641" y="33928"/>
                      <a:pt x="316155" y="29756"/>
                    </a:cubicBezTo>
                    <a:cubicBezTo>
                      <a:pt x="316155" y="29756"/>
                      <a:pt x="316155" y="29756"/>
                      <a:pt x="349244" y="3329"/>
                    </a:cubicBezTo>
                    <a:cubicBezTo>
                      <a:pt x="353380" y="-844"/>
                      <a:pt x="361652" y="-844"/>
                      <a:pt x="365788" y="1938"/>
                    </a:cubicBezTo>
                    <a:close/>
                  </a:path>
                </a:pathLst>
              </a:custGeom>
              <a:solidFill>
                <a:srgbClr val="E1E1E1"/>
              </a:solidFill>
              <a:ln>
                <a:noFill/>
              </a:ln>
            </p:spPr>
            <p:txBody>
              <a:bodyPr vert="horz" wrap="square" lIns="91440" tIns="45720" rIns="91440" bIns="45720" numCol="1" anchor="t" anchorCtr="0" compatLnSpc="1">
                <a:prstTxWarp prst="textNoShape">
                  <a:avLst/>
                </a:prstTxWarp>
                <a:no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7" name="Oval 16">
              <a:extLst>
                <a:ext uri="{FF2B5EF4-FFF2-40B4-BE49-F238E27FC236}">
                  <a16:creationId xmlns:a16="http://schemas.microsoft.com/office/drawing/2014/main" id="{BE5C2E90-72A2-42FF-BF6C-50B570CFF51F}"/>
                </a:ext>
              </a:extLst>
            </p:cNvPr>
            <p:cNvSpPr/>
            <p:nvPr/>
          </p:nvSpPr>
          <p:spPr bwMode="auto">
            <a:xfrm>
              <a:off x="4811776" y="2633472"/>
              <a:ext cx="8301135" cy="8113295"/>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396204744"/>
      </p:ext>
    </p:extLst>
  </p:cSld>
  <p:clrMapOvr>
    <a:masterClrMapping/>
  </p:clrMapOvr>
  <p:transition spd="slow">
    <p:wip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295730"/>
            <a:ext cx="3809457"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Cosmos DB</a:t>
            </a:r>
          </a:p>
        </p:txBody>
      </p:sp>
      <p:sp>
        <p:nvSpPr>
          <p:cNvPr id="8" name="Text Placeholder 2"/>
          <p:cNvSpPr txBox="1">
            <a:spLocks/>
          </p:cNvSpPr>
          <p:nvPr/>
        </p:nvSpPr>
        <p:spPr>
          <a:xfrm>
            <a:off x="275484" y="1744314"/>
            <a:ext cx="3686506" cy="4589307"/>
          </a:xfrm>
          <a:prstGeom prst="rect">
            <a:avLst/>
          </a:prstGeom>
        </p:spPr>
        <p:txBody>
          <a:bodyPr lIns="182750" tIns="146200" rIns="18275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Seamless handling of any data output or volume</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Data made available immediately, and indexed automatically</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eal-time, resilient change feeds logged forever and always accessible</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ative integration with Azure Functions</a:t>
            </a: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315598" y="4612965"/>
            <a:ext cx="219956" cy="17381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 name="Group 8">
            <a:extLst>
              <a:ext uri="{FF2B5EF4-FFF2-40B4-BE49-F238E27FC236}">
                <a16:creationId xmlns:a16="http://schemas.microsoft.com/office/drawing/2014/main" id="{ADAD9E08-39D4-44C0-9A50-A89DEE2914ED}"/>
              </a:ext>
            </a:extLst>
          </p:cNvPr>
          <p:cNvGrpSpPr/>
          <p:nvPr/>
        </p:nvGrpSpPr>
        <p:grpSpPr>
          <a:xfrm>
            <a:off x="5326025" y="1928355"/>
            <a:ext cx="5882163" cy="3413185"/>
            <a:chOff x="6521084" y="1493794"/>
            <a:chExt cx="5165089" cy="2710370"/>
          </a:xfrm>
        </p:grpSpPr>
        <p:sp>
          <p:nvSpPr>
            <p:cNvPr id="11" name="TextBox 10">
              <a:extLst>
                <a:ext uri="{FF2B5EF4-FFF2-40B4-BE49-F238E27FC236}">
                  <a16:creationId xmlns:a16="http://schemas.microsoft.com/office/drawing/2014/main" id="{2EA14ECA-CEC6-46C5-92E0-C4ABA1C1ABE4}"/>
                </a:ext>
              </a:extLst>
            </p:cNvPr>
            <p:cNvSpPr txBox="1"/>
            <p:nvPr/>
          </p:nvSpPr>
          <p:spPr>
            <a:xfrm>
              <a:off x="7432455" y="3819443"/>
              <a:ext cx="1175238" cy="384721"/>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Functions</a:t>
              </a:r>
            </a:p>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Microsoft 1: Tax)</a:t>
              </a:r>
            </a:p>
          </p:txBody>
        </p:sp>
        <p:grpSp>
          <p:nvGrpSpPr>
            <p:cNvPr id="12" name="Group 11">
              <a:extLst>
                <a:ext uri="{FF2B5EF4-FFF2-40B4-BE49-F238E27FC236}">
                  <a16:creationId xmlns:a16="http://schemas.microsoft.com/office/drawing/2014/main" id="{D97ECC14-A872-4F5E-B22D-AE9DA3D9FD06}"/>
                </a:ext>
              </a:extLst>
            </p:cNvPr>
            <p:cNvGrpSpPr/>
            <p:nvPr/>
          </p:nvGrpSpPr>
          <p:grpSpPr>
            <a:xfrm>
              <a:off x="7789888" y="3285526"/>
              <a:ext cx="628588" cy="562205"/>
              <a:chOff x="6773175" y="404044"/>
              <a:chExt cx="802419" cy="717677"/>
            </a:xfrm>
          </p:grpSpPr>
          <p:sp>
            <p:nvSpPr>
              <p:cNvPr id="59" name="Freeform 24">
                <a:extLst>
                  <a:ext uri="{FF2B5EF4-FFF2-40B4-BE49-F238E27FC236}">
                    <a16:creationId xmlns:a16="http://schemas.microsoft.com/office/drawing/2014/main" id="{B6D976CA-EB37-4179-A35D-231C950866EF}"/>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0" name="Freeform 640">
                <a:extLst>
                  <a:ext uri="{FF2B5EF4-FFF2-40B4-BE49-F238E27FC236}">
                    <a16:creationId xmlns:a16="http://schemas.microsoft.com/office/drawing/2014/main" id="{EF1EFB9D-8C12-4CBB-A8A0-CA302833B2CD}"/>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1" name="Freeform 28">
                <a:extLst>
                  <a:ext uri="{FF2B5EF4-FFF2-40B4-BE49-F238E27FC236}">
                    <a16:creationId xmlns:a16="http://schemas.microsoft.com/office/drawing/2014/main" id="{F41A1BBB-6152-402F-A87A-01CAC62D939B}"/>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3" name="TextBox 12">
              <a:extLst>
                <a:ext uri="{FF2B5EF4-FFF2-40B4-BE49-F238E27FC236}">
                  <a16:creationId xmlns:a16="http://schemas.microsoft.com/office/drawing/2014/main" id="{B1398813-3C6A-4A56-839A-FE2D70E600B8}"/>
                </a:ext>
              </a:extLst>
            </p:cNvPr>
            <p:cNvSpPr txBox="1"/>
            <p:nvPr/>
          </p:nvSpPr>
          <p:spPr>
            <a:xfrm>
              <a:off x="8714894" y="3819443"/>
              <a:ext cx="1414520" cy="384721"/>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Functions</a:t>
              </a:r>
            </a:p>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Microsoft 2: Payment)</a:t>
              </a:r>
            </a:p>
          </p:txBody>
        </p:sp>
        <p:grpSp>
          <p:nvGrpSpPr>
            <p:cNvPr id="14" name="Group 13">
              <a:extLst>
                <a:ext uri="{FF2B5EF4-FFF2-40B4-BE49-F238E27FC236}">
                  <a16:creationId xmlns:a16="http://schemas.microsoft.com/office/drawing/2014/main" id="{8977A6F3-BDEF-4B34-BBDC-1760C077F7F0}"/>
                </a:ext>
              </a:extLst>
            </p:cNvPr>
            <p:cNvGrpSpPr/>
            <p:nvPr/>
          </p:nvGrpSpPr>
          <p:grpSpPr>
            <a:xfrm>
              <a:off x="9191968" y="3285526"/>
              <a:ext cx="628588" cy="562205"/>
              <a:chOff x="6773175" y="404044"/>
              <a:chExt cx="802419" cy="717677"/>
            </a:xfrm>
          </p:grpSpPr>
          <p:sp>
            <p:nvSpPr>
              <p:cNvPr id="56" name="Freeform 24">
                <a:extLst>
                  <a:ext uri="{FF2B5EF4-FFF2-40B4-BE49-F238E27FC236}">
                    <a16:creationId xmlns:a16="http://schemas.microsoft.com/office/drawing/2014/main" id="{B452CBC0-B502-4423-BED4-80348D95A74C}"/>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Freeform 640">
                <a:extLst>
                  <a:ext uri="{FF2B5EF4-FFF2-40B4-BE49-F238E27FC236}">
                    <a16:creationId xmlns:a16="http://schemas.microsoft.com/office/drawing/2014/main" id="{99C1AC8C-1E45-42E5-8675-12816A792506}"/>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Freeform 28">
                <a:extLst>
                  <a:ext uri="{FF2B5EF4-FFF2-40B4-BE49-F238E27FC236}">
                    <a16:creationId xmlns:a16="http://schemas.microsoft.com/office/drawing/2014/main" id="{F81CAAC1-1AD3-4EC6-938D-35B53212AF54}"/>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 name="TextBox 14">
              <a:extLst>
                <a:ext uri="{FF2B5EF4-FFF2-40B4-BE49-F238E27FC236}">
                  <a16:creationId xmlns:a16="http://schemas.microsoft.com/office/drawing/2014/main" id="{E17245F6-E9B7-44FC-BF68-96A0997B276A}"/>
                </a:ext>
              </a:extLst>
            </p:cNvPr>
            <p:cNvSpPr txBox="1"/>
            <p:nvPr/>
          </p:nvSpPr>
          <p:spPr>
            <a:xfrm>
              <a:off x="10009951" y="3819443"/>
              <a:ext cx="1676222" cy="384721"/>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Functions</a:t>
              </a:r>
            </a:p>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Microsoft N: Fulfillment)</a:t>
              </a:r>
            </a:p>
          </p:txBody>
        </p:sp>
        <p:grpSp>
          <p:nvGrpSpPr>
            <p:cNvPr id="16" name="Group 15">
              <a:extLst>
                <a:ext uri="{FF2B5EF4-FFF2-40B4-BE49-F238E27FC236}">
                  <a16:creationId xmlns:a16="http://schemas.microsoft.com/office/drawing/2014/main" id="{C0528381-9FE9-44CA-BD9A-67639149E5CA}"/>
                </a:ext>
              </a:extLst>
            </p:cNvPr>
            <p:cNvGrpSpPr/>
            <p:nvPr/>
          </p:nvGrpSpPr>
          <p:grpSpPr>
            <a:xfrm>
              <a:off x="10617876" y="3285526"/>
              <a:ext cx="628588" cy="562205"/>
              <a:chOff x="6773175" y="404044"/>
              <a:chExt cx="802419" cy="717677"/>
            </a:xfrm>
          </p:grpSpPr>
          <p:sp>
            <p:nvSpPr>
              <p:cNvPr id="53" name="Freeform 24">
                <a:extLst>
                  <a:ext uri="{FF2B5EF4-FFF2-40B4-BE49-F238E27FC236}">
                    <a16:creationId xmlns:a16="http://schemas.microsoft.com/office/drawing/2014/main" id="{F5108F4C-71A5-412B-912A-CA5FF1024827}"/>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4" name="Freeform 640">
                <a:extLst>
                  <a:ext uri="{FF2B5EF4-FFF2-40B4-BE49-F238E27FC236}">
                    <a16:creationId xmlns:a16="http://schemas.microsoft.com/office/drawing/2014/main" id="{1F5C5040-11FD-4AE0-B54C-4CF9F539145F}"/>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 name="Freeform 28">
                <a:extLst>
                  <a:ext uri="{FF2B5EF4-FFF2-40B4-BE49-F238E27FC236}">
                    <a16:creationId xmlns:a16="http://schemas.microsoft.com/office/drawing/2014/main" id="{068FC69B-40DD-413B-AC9C-4A91CB4B0ABE}"/>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7" name="TextBox 16">
              <a:extLst>
                <a:ext uri="{FF2B5EF4-FFF2-40B4-BE49-F238E27FC236}">
                  <a16:creationId xmlns:a16="http://schemas.microsoft.com/office/drawing/2014/main" id="{309EB878-9EB4-4EF7-80F1-7AD2689D9425}"/>
                </a:ext>
              </a:extLst>
            </p:cNvPr>
            <p:cNvSpPr txBox="1"/>
            <p:nvPr/>
          </p:nvSpPr>
          <p:spPr>
            <a:xfrm>
              <a:off x="7149427" y="1493795"/>
              <a:ext cx="1741294" cy="384721"/>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Functions</a:t>
              </a:r>
            </a:p>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E-commerce Checkout, API)</a:t>
              </a:r>
            </a:p>
          </p:txBody>
        </p:sp>
        <p:grpSp>
          <p:nvGrpSpPr>
            <p:cNvPr id="18" name="Group 17">
              <a:extLst>
                <a:ext uri="{FF2B5EF4-FFF2-40B4-BE49-F238E27FC236}">
                  <a16:creationId xmlns:a16="http://schemas.microsoft.com/office/drawing/2014/main" id="{824536D0-FB13-4E3F-86BF-488C02550650}"/>
                </a:ext>
              </a:extLst>
            </p:cNvPr>
            <p:cNvGrpSpPr/>
            <p:nvPr/>
          </p:nvGrpSpPr>
          <p:grpSpPr>
            <a:xfrm>
              <a:off x="7789888" y="1953114"/>
              <a:ext cx="628588" cy="562205"/>
              <a:chOff x="6773175" y="404044"/>
              <a:chExt cx="802419" cy="717677"/>
            </a:xfrm>
          </p:grpSpPr>
          <p:sp>
            <p:nvSpPr>
              <p:cNvPr id="50" name="Freeform 24">
                <a:extLst>
                  <a:ext uri="{FF2B5EF4-FFF2-40B4-BE49-F238E27FC236}">
                    <a16:creationId xmlns:a16="http://schemas.microsoft.com/office/drawing/2014/main" id="{8EABC882-9B62-49C1-BFFB-F19FA44720BF}"/>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1" name="Freeform 640">
                <a:extLst>
                  <a:ext uri="{FF2B5EF4-FFF2-40B4-BE49-F238E27FC236}">
                    <a16:creationId xmlns:a16="http://schemas.microsoft.com/office/drawing/2014/main" id="{0027252F-E713-43BD-A6C9-C32290D065DC}"/>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Freeform 28">
                <a:extLst>
                  <a:ext uri="{FF2B5EF4-FFF2-40B4-BE49-F238E27FC236}">
                    <a16:creationId xmlns:a16="http://schemas.microsoft.com/office/drawing/2014/main" id="{8DF808E7-2085-401D-9FC5-130D52B3CADE}"/>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 name="TextBox 18">
              <a:extLst>
                <a:ext uri="{FF2B5EF4-FFF2-40B4-BE49-F238E27FC236}">
                  <a16:creationId xmlns:a16="http://schemas.microsoft.com/office/drawing/2014/main" id="{7C5D31A8-B01C-42E2-9A01-68266FB399B0}"/>
                </a:ext>
              </a:extLst>
            </p:cNvPr>
            <p:cNvSpPr txBox="1"/>
            <p:nvPr/>
          </p:nvSpPr>
          <p:spPr>
            <a:xfrm>
              <a:off x="8900654" y="1493794"/>
              <a:ext cx="1228760" cy="384721"/>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Cosmos DB</a:t>
              </a:r>
            </a:p>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Order event score)</a:t>
              </a:r>
            </a:p>
          </p:txBody>
        </p:sp>
        <p:grpSp>
          <p:nvGrpSpPr>
            <p:cNvPr id="20" name="Group 19">
              <a:extLst>
                <a:ext uri="{FF2B5EF4-FFF2-40B4-BE49-F238E27FC236}">
                  <a16:creationId xmlns:a16="http://schemas.microsoft.com/office/drawing/2014/main" id="{A19C552F-8234-4E70-AC7F-44E4EC41498A}"/>
                </a:ext>
              </a:extLst>
            </p:cNvPr>
            <p:cNvGrpSpPr/>
            <p:nvPr/>
          </p:nvGrpSpPr>
          <p:grpSpPr>
            <a:xfrm>
              <a:off x="9192685" y="1928657"/>
              <a:ext cx="644698" cy="555680"/>
              <a:chOff x="8376458" y="5925518"/>
              <a:chExt cx="1045926" cy="901512"/>
            </a:xfrm>
          </p:grpSpPr>
          <p:sp>
            <p:nvSpPr>
              <p:cNvPr id="46" name="Star: 4 Points 8">
                <a:extLst>
                  <a:ext uri="{FF2B5EF4-FFF2-40B4-BE49-F238E27FC236}">
                    <a16:creationId xmlns:a16="http://schemas.microsoft.com/office/drawing/2014/main" id="{A765D06A-8D5F-4BDD-9B1A-B41B6B3965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Star: 4 Points 8">
                <a:extLst>
                  <a:ext uri="{FF2B5EF4-FFF2-40B4-BE49-F238E27FC236}">
                    <a16:creationId xmlns:a16="http://schemas.microsoft.com/office/drawing/2014/main" id="{22987044-A17B-429F-9B8D-7C26A6D65472}"/>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 name="Oval 47">
                <a:extLst>
                  <a:ext uri="{FF2B5EF4-FFF2-40B4-BE49-F238E27FC236}">
                    <a16:creationId xmlns:a16="http://schemas.microsoft.com/office/drawing/2014/main" id="{8FB8AD81-C5E1-471B-AD33-F393CD6AB088}"/>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 name="Oval 9">
                <a:extLst>
                  <a:ext uri="{FF2B5EF4-FFF2-40B4-BE49-F238E27FC236}">
                    <a16:creationId xmlns:a16="http://schemas.microsoft.com/office/drawing/2014/main" id="{B74C0FB1-7001-4D71-95E1-2FAAABB4E66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3E6496E2-BD26-4996-9BFD-3EBF181ED5CF}"/>
                </a:ext>
              </a:extLst>
            </p:cNvPr>
            <p:cNvGrpSpPr/>
            <p:nvPr/>
          </p:nvGrpSpPr>
          <p:grpSpPr>
            <a:xfrm>
              <a:off x="6521084" y="1987693"/>
              <a:ext cx="485379" cy="412901"/>
              <a:chOff x="5872464" y="2045113"/>
              <a:chExt cx="485379" cy="412901"/>
            </a:xfrm>
          </p:grpSpPr>
          <p:grpSp>
            <p:nvGrpSpPr>
              <p:cNvPr id="39" name="Group 38">
                <a:extLst>
                  <a:ext uri="{FF2B5EF4-FFF2-40B4-BE49-F238E27FC236}">
                    <a16:creationId xmlns:a16="http://schemas.microsoft.com/office/drawing/2014/main" id="{58AFF575-E9CE-4346-A4A8-C31F58939448}"/>
                  </a:ext>
                </a:extLst>
              </p:cNvPr>
              <p:cNvGrpSpPr/>
              <p:nvPr/>
            </p:nvGrpSpPr>
            <p:grpSpPr>
              <a:xfrm>
                <a:off x="5872464" y="2045113"/>
                <a:ext cx="485379" cy="412901"/>
                <a:chOff x="2107244" y="1575258"/>
                <a:chExt cx="310993" cy="264555"/>
              </a:xfrm>
            </p:grpSpPr>
            <p:sp>
              <p:nvSpPr>
                <p:cNvPr id="44" name="Rectangle 9">
                  <a:extLst>
                    <a:ext uri="{FF2B5EF4-FFF2-40B4-BE49-F238E27FC236}">
                      <a16:creationId xmlns:a16="http://schemas.microsoft.com/office/drawing/2014/main" id="{919FC1D7-7AB5-458C-AE00-9184F0BEC7D2}"/>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5" name="Line 10">
                  <a:extLst>
                    <a:ext uri="{FF2B5EF4-FFF2-40B4-BE49-F238E27FC236}">
                      <a16:creationId xmlns:a16="http://schemas.microsoft.com/office/drawing/2014/main" id="{A282A581-38DA-48DB-8FCD-A5C80FE53291}"/>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AA01A73E-CD35-43F7-91D7-5FAFAE53E939}"/>
                  </a:ext>
                </a:extLst>
              </p:cNvPr>
              <p:cNvGrpSpPr/>
              <p:nvPr/>
            </p:nvGrpSpPr>
            <p:grpSpPr>
              <a:xfrm>
                <a:off x="6153589" y="2082451"/>
                <a:ext cx="149347" cy="37338"/>
                <a:chOff x="2287367" y="1599181"/>
                <a:chExt cx="95690" cy="23923"/>
              </a:xfrm>
              <a:solidFill>
                <a:schemeClr val="tx2"/>
              </a:solidFill>
            </p:grpSpPr>
            <p:sp>
              <p:nvSpPr>
                <p:cNvPr id="41" name="Oval 11">
                  <a:extLst>
                    <a:ext uri="{FF2B5EF4-FFF2-40B4-BE49-F238E27FC236}">
                      <a16:creationId xmlns:a16="http://schemas.microsoft.com/office/drawing/2014/main" id="{1E6036DD-D948-42DA-9D4E-B34FE5E59303}"/>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2" name="Oval 12">
                  <a:extLst>
                    <a:ext uri="{FF2B5EF4-FFF2-40B4-BE49-F238E27FC236}">
                      <a16:creationId xmlns:a16="http://schemas.microsoft.com/office/drawing/2014/main" id="{8688DB17-E134-400A-9AED-851B98EFF6E3}"/>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3" name="Oval 13">
                  <a:extLst>
                    <a:ext uri="{FF2B5EF4-FFF2-40B4-BE49-F238E27FC236}">
                      <a16:creationId xmlns:a16="http://schemas.microsoft.com/office/drawing/2014/main" id="{4C49F5C5-99E2-4027-A2A3-FAF68E33D1BA}"/>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22" name="ShoppingCart_E7BF">
              <a:extLst>
                <a:ext uri="{FF2B5EF4-FFF2-40B4-BE49-F238E27FC236}">
                  <a16:creationId xmlns:a16="http://schemas.microsoft.com/office/drawing/2014/main" id="{CEAEB1BF-77B9-4153-BA8B-C1F991FDC075}"/>
                </a:ext>
              </a:extLst>
            </p:cNvPr>
            <p:cNvSpPr>
              <a:spLocks noChangeAspect="1" noEditPoints="1"/>
            </p:cNvSpPr>
            <p:nvPr/>
          </p:nvSpPr>
          <p:spPr bwMode="auto">
            <a:xfrm>
              <a:off x="6642271" y="2158801"/>
              <a:ext cx="214846" cy="182696"/>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23" name="Group 22">
              <a:extLst>
                <a:ext uri="{FF2B5EF4-FFF2-40B4-BE49-F238E27FC236}">
                  <a16:creationId xmlns:a16="http://schemas.microsoft.com/office/drawing/2014/main" id="{17250D15-644E-43A9-A632-395E9B507E86}"/>
                </a:ext>
              </a:extLst>
            </p:cNvPr>
            <p:cNvGrpSpPr/>
            <p:nvPr/>
          </p:nvGrpSpPr>
          <p:grpSpPr>
            <a:xfrm>
              <a:off x="10694089" y="1840340"/>
              <a:ext cx="307945" cy="699265"/>
              <a:chOff x="10878229" y="2464963"/>
              <a:chExt cx="307945" cy="699265"/>
            </a:xfrm>
          </p:grpSpPr>
          <p:sp>
            <p:nvSpPr>
              <p:cNvPr id="33" name="Rectangle 32">
                <a:extLst>
                  <a:ext uri="{FF2B5EF4-FFF2-40B4-BE49-F238E27FC236}">
                    <a16:creationId xmlns:a16="http://schemas.microsoft.com/office/drawing/2014/main" id="{18B4E90E-1F9C-47A9-A4CE-2CF03D89FEBC}"/>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Rectangle 33">
                <a:extLst>
                  <a:ext uri="{FF2B5EF4-FFF2-40B4-BE49-F238E27FC236}">
                    <a16:creationId xmlns:a16="http://schemas.microsoft.com/office/drawing/2014/main" id="{B20D52B0-3CC3-49C3-A65B-A93A0FF4D5B3}"/>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725C09FD-4C0A-4379-A20C-7ED94DE8DCAC}"/>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Rectangle 35">
                <a:extLst>
                  <a:ext uri="{FF2B5EF4-FFF2-40B4-BE49-F238E27FC236}">
                    <a16:creationId xmlns:a16="http://schemas.microsoft.com/office/drawing/2014/main" id="{3BE273A0-5DF6-47E7-8A20-A17B0BD9CEDC}"/>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Rectangle 36">
                <a:extLst>
                  <a:ext uri="{FF2B5EF4-FFF2-40B4-BE49-F238E27FC236}">
                    <a16:creationId xmlns:a16="http://schemas.microsoft.com/office/drawing/2014/main" id="{49A12277-EA0B-4C12-974C-EBD51EFC473B}"/>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Rectangle 37">
                <a:extLst>
                  <a:ext uri="{FF2B5EF4-FFF2-40B4-BE49-F238E27FC236}">
                    <a16:creationId xmlns:a16="http://schemas.microsoft.com/office/drawing/2014/main" id="{9014927C-CA01-41F6-B7E4-51F02DECA4FC}"/>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4" name="TextBox 23">
              <a:extLst>
                <a:ext uri="{FF2B5EF4-FFF2-40B4-BE49-F238E27FC236}">
                  <a16:creationId xmlns:a16="http://schemas.microsoft.com/office/drawing/2014/main" id="{24EBE025-23AF-4815-A3E4-6C481BAF91E3}"/>
                </a:ext>
              </a:extLst>
            </p:cNvPr>
            <p:cNvSpPr txBox="1"/>
            <p:nvPr/>
          </p:nvSpPr>
          <p:spPr>
            <a:xfrm>
              <a:off x="10414884" y="2598044"/>
              <a:ext cx="866356" cy="238527"/>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25" name="Straight Arrow Connector 24">
              <a:extLst>
                <a:ext uri="{FF2B5EF4-FFF2-40B4-BE49-F238E27FC236}">
                  <a16:creationId xmlns:a16="http://schemas.microsoft.com/office/drawing/2014/main" id="{89408F1F-09BD-4AD4-98D9-ADC1CBFE560E}"/>
                </a:ext>
              </a:extLst>
            </p:cNvPr>
            <p:cNvCxnSpPr>
              <a:cxnSpLocks/>
            </p:cNvCxnSpPr>
            <p:nvPr/>
          </p:nvCxnSpPr>
          <p:spPr>
            <a:xfrm>
              <a:off x="7149427" y="2209259"/>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Arrow Connector 25">
              <a:extLst>
                <a:ext uri="{FF2B5EF4-FFF2-40B4-BE49-F238E27FC236}">
                  <a16:creationId xmlns:a16="http://schemas.microsoft.com/office/drawing/2014/main" id="{D59C62DD-C46F-4FC4-9A64-6DC5E3C1D502}"/>
                </a:ext>
              </a:extLst>
            </p:cNvPr>
            <p:cNvCxnSpPr>
              <a:cxnSpLocks/>
            </p:cNvCxnSpPr>
            <p:nvPr/>
          </p:nvCxnSpPr>
          <p:spPr>
            <a:xfrm>
              <a:off x="8578177" y="2209259"/>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Arrow Connector 26">
              <a:extLst>
                <a:ext uri="{FF2B5EF4-FFF2-40B4-BE49-F238E27FC236}">
                  <a16:creationId xmlns:a16="http://schemas.microsoft.com/office/drawing/2014/main" id="{4A366C5A-6828-4827-95D0-256DB0D29FA5}"/>
                </a:ext>
              </a:extLst>
            </p:cNvPr>
            <p:cNvCxnSpPr>
              <a:cxnSpLocks/>
            </p:cNvCxnSpPr>
            <p:nvPr/>
          </p:nvCxnSpPr>
          <p:spPr>
            <a:xfrm>
              <a:off x="10088569" y="2209259"/>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Arrow Connector 27">
              <a:extLst>
                <a:ext uri="{FF2B5EF4-FFF2-40B4-BE49-F238E27FC236}">
                  <a16:creationId xmlns:a16="http://schemas.microsoft.com/office/drawing/2014/main" id="{432FC47A-804A-474A-B65F-DCB059D2C39A}"/>
                </a:ext>
              </a:extLst>
            </p:cNvPr>
            <p:cNvCxnSpPr>
              <a:cxnSpLocks/>
            </p:cNvCxnSpPr>
            <p:nvPr/>
          </p:nvCxnSpPr>
          <p:spPr>
            <a:xfrm>
              <a:off x="8578177" y="3556366"/>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Arrow Connector 28">
              <a:extLst>
                <a:ext uri="{FF2B5EF4-FFF2-40B4-BE49-F238E27FC236}">
                  <a16:creationId xmlns:a16="http://schemas.microsoft.com/office/drawing/2014/main" id="{A8C49565-2830-4EA4-B4D4-186B98D4F572}"/>
                </a:ext>
              </a:extLst>
            </p:cNvPr>
            <p:cNvCxnSpPr>
              <a:cxnSpLocks/>
            </p:cNvCxnSpPr>
            <p:nvPr/>
          </p:nvCxnSpPr>
          <p:spPr>
            <a:xfrm>
              <a:off x="9966105" y="3556366"/>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Arrow Connector 29">
              <a:extLst>
                <a:ext uri="{FF2B5EF4-FFF2-40B4-BE49-F238E27FC236}">
                  <a16:creationId xmlns:a16="http://schemas.microsoft.com/office/drawing/2014/main" id="{896AA402-5124-490D-ABC7-DAF5A861B82F}"/>
                </a:ext>
              </a:extLst>
            </p:cNvPr>
            <p:cNvCxnSpPr>
              <a:cxnSpLocks/>
            </p:cNvCxnSpPr>
            <p:nvPr/>
          </p:nvCxnSpPr>
          <p:spPr>
            <a:xfrm>
              <a:off x="10913357" y="2859029"/>
              <a:ext cx="0" cy="329069"/>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Arrow Connector 30">
              <a:extLst>
                <a:ext uri="{FF2B5EF4-FFF2-40B4-BE49-F238E27FC236}">
                  <a16:creationId xmlns:a16="http://schemas.microsoft.com/office/drawing/2014/main" id="{FCF7221E-3838-47DF-B887-8F3BFD6CABE8}"/>
                </a:ext>
              </a:extLst>
            </p:cNvPr>
            <p:cNvCxnSpPr>
              <a:cxnSpLocks/>
            </p:cNvCxnSpPr>
            <p:nvPr/>
          </p:nvCxnSpPr>
          <p:spPr>
            <a:xfrm flipH="1">
              <a:off x="9629317" y="2702748"/>
              <a:ext cx="812340" cy="485350"/>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Arrow Connector 31">
              <a:extLst>
                <a:ext uri="{FF2B5EF4-FFF2-40B4-BE49-F238E27FC236}">
                  <a16:creationId xmlns:a16="http://schemas.microsoft.com/office/drawing/2014/main" id="{25B0A3C7-E3B8-4E5D-843E-23903B4F51BB}"/>
                </a:ext>
              </a:extLst>
            </p:cNvPr>
            <p:cNvCxnSpPr>
              <a:cxnSpLocks/>
            </p:cNvCxnSpPr>
            <p:nvPr/>
          </p:nvCxnSpPr>
          <p:spPr>
            <a:xfrm flipH="1">
              <a:off x="8252953" y="2444086"/>
              <a:ext cx="2227472" cy="707819"/>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215737060"/>
      </p:ext>
    </p:extLst>
  </p:cSld>
  <p:clrMapOvr>
    <a:masterClrMapping/>
  </p:clrMapOvr>
  <p:transition spd="slow">
    <p:wip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0">
                                          <p:cBhvr additive="base">
                                            <p:cTn id="7"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68415" y="2028566"/>
            <a:ext cx="7396579" cy="959602"/>
            <a:chOff x="3641081" y="2013171"/>
            <a:chExt cx="7252206" cy="940872"/>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6509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3672" b="0" spc="-51">
                  <a:solidFill>
                    <a:srgbClr val="0078D4"/>
                  </a:solidFill>
                  <a:latin typeface="Selawik Semibold" panose="020B0702040204020203" pitchFamily="34" charset="0"/>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74846"/>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384">
                <a:buNone/>
                <a:defRPr/>
              </a:pPr>
              <a:r>
                <a:rPr lang="en-US" sz="2040" dirty="0">
                  <a:solidFill>
                    <a:srgbClr val="000000"/>
                  </a:solidFill>
                  <a:latin typeface="Segoe UI" panose="020B0502040204020203" pitchFamily="34" charset="0"/>
                  <a:cs typeface="Segoe UI" panose="020B0502040204020203" pitchFamily="34" charset="0"/>
                </a:rPr>
                <a:t>Create Logic App using Azure Portal</a:t>
              </a: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14013" y="2034186"/>
            <a:ext cx="2379291" cy="223082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36889540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descr="A person sitting in front of a computer&#10;&#10;Description generated with high confidence">
            <a:extLst>
              <a:ext uri="{FF2B5EF4-FFF2-40B4-BE49-F238E27FC236}">
                <a16:creationId xmlns:a16="http://schemas.microsoft.com/office/drawing/2014/main" id="{260B03F5-0C9C-4674-BC2B-7B71E1EAEDF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5840" cy="1763553"/>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4639" y="1902414"/>
            <a:ext cx="10095136" cy="1569019"/>
          </a:xfrm>
          <a:prstGeom prst="rect">
            <a:avLst/>
          </a:prstGeom>
          <a:noFill/>
        </p:spPr>
        <p:txBody>
          <a:bodyPr wrap="none" rtlCol="0">
            <a:spAutoFit/>
          </a:bodyPr>
          <a:lstStyle/>
          <a:p>
            <a:pPr lvl="0" defTabSz="457200"/>
            <a:r>
              <a:rPr lang="en-US" sz="4798" spc="-150">
                <a:ln w="3175">
                  <a:noFill/>
                </a:ln>
                <a:gradFill>
                  <a:gsLst>
                    <a:gs pos="1250">
                      <a:srgbClr val="505050"/>
                    </a:gs>
                    <a:gs pos="100000">
                      <a:srgbClr val="505050"/>
                    </a:gs>
                  </a:gsLst>
                  <a:lin ang="5400000" scaled="0"/>
                </a:gradFill>
                <a:latin typeface="Segoe UI Light"/>
                <a:cs typeface="Segoe UI" pitchFamily="34" charset="0"/>
              </a:rPr>
              <a:t>Serverless - </a:t>
            </a:r>
            <a:r>
              <a:rPr kumimoji="0" lang="en-US" sz="4798" b="0" i="0" u="none" strike="noStrike" kern="1200" cap="none" spc="-150"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Focus</a:t>
            </a:r>
            <a:r>
              <a:rPr kumimoji="0" lang="en-US" sz="4798" b="0" i="0" u="none" strike="noStrike" kern="1200" cap="none" spc="-15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 on code, not plumbin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15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cxnSp>
        <p:nvCxnSpPr>
          <p:cNvPr id="16" name="Straight Connector 15">
            <a:extLst>
              <a:ext uri="{FF2B5EF4-FFF2-40B4-BE49-F238E27FC236}">
                <a16:creationId xmlns:a16="http://schemas.microsoft.com/office/drawing/2014/main" id="{D1019EF0-235A-4E10-8A91-700DA2C491E4}"/>
              </a:ext>
            </a:extLst>
          </p:cNvPr>
          <p:cNvCxnSpPr>
            <a:cxnSpLocks/>
          </p:cNvCxnSpPr>
          <p:nvPr/>
        </p:nvCxnSpPr>
        <p:spPr>
          <a:xfrm>
            <a:off x="4148518" y="4062741"/>
            <a:ext cx="0" cy="11430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2170E3B-6AC0-4084-85C0-0BA07EA8A5C0}"/>
              </a:ext>
            </a:extLst>
          </p:cNvPr>
          <p:cNvCxnSpPr>
            <a:cxnSpLocks/>
          </p:cNvCxnSpPr>
          <p:nvPr/>
        </p:nvCxnSpPr>
        <p:spPr>
          <a:xfrm>
            <a:off x="7951119" y="4062741"/>
            <a:ext cx="0" cy="11430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F0D88F8-08E1-4943-A3F2-53830661FD7E}"/>
              </a:ext>
            </a:extLst>
          </p:cNvPr>
          <p:cNvSpPr txBox="1"/>
          <p:nvPr/>
        </p:nvSpPr>
        <p:spPr>
          <a:xfrm>
            <a:off x="1330418" y="4487395"/>
            <a:ext cx="1832359" cy="58477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No infrastructure </a:t>
            </a:r>
            <a:b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anagement</a:t>
            </a:r>
          </a:p>
        </p:txBody>
      </p:sp>
      <p:sp>
        <p:nvSpPr>
          <p:cNvPr id="23" name="TextBox 22">
            <a:extLst>
              <a:ext uri="{FF2B5EF4-FFF2-40B4-BE49-F238E27FC236}">
                <a16:creationId xmlns:a16="http://schemas.microsoft.com/office/drawing/2014/main" id="{D7D613F7-9BCD-4CBB-AE11-F22C42C0A99B}"/>
              </a:ext>
            </a:extLst>
          </p:cNvPr>
          <p:cNvSpPr txBox="1"/>
          <p:nvPr/>
        </p:nvSpPr>
        <p:spPr>
          <a:xfrm>
            <a:off x="8551759" y="4487395"/>
            <a:ext cx="2583657" cy="58477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No wasted resources, </a:t>
            </a:r>
            <a:b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ay only for what you use</a:t>
            </a:r>
          </a:p>
        </p:txBody>
      </p:sp>
      <p:sp>
        <p:nvSpPr>
          <p:cNvPr id="32" name="TextBox 31">
            <a:extLst>
              <a:ext uri="{FF2B5EF4-FFF2-40B4-BE49-F238E27FC236}">
                <a16:creationId xmlns:a16="http://schemas.microsoft.com/office/drawing/2014/main" id="{DAE5EBE0-2ECC-434E-B78A-35FB461E6503}"/>
              </a:ext>
            </a:extLst>
          </p:cNvPr>
          <p:cNvSpPr txBox="1"/>
          <p:nvPr/>
        </p:nvSpPr>
        <p:spPr>
          <a:xfrm>
            <a:off x="5137304" y="4487395"/>
            <a:ext cx="1833708" cy="58477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Auto-scale based </a:t>
            </a:r>
            <a:b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on your workload</a:t>
            </a:r>
          </a:p>
        </p:txBody>
      </p:sp>
      <p:grpSp>
        <p:nvGrpSpPr>
          <p:cNvPr id="35" name="Group 81">
            <a:extLst>
              <a:ext uri="{FF2B5EF4-FFF2-40B4-BE49-F238E27FC236}">
                <a16:creationId xmlns:a16="http://schemas.microsoft.com/office/drawing/2014/main" id="{A46AC3FC-97DD-4606-ADDC-9D88D282C970}"/>
              </a:ext>
            </a:extLst>
          </p:cNvPr>
          <p:cNvGrpSpPr>
            <a:grpSpLocks noChangeAspect="1"/>
          </p:cNvGrpSpPr>
          <p:nvPr/>
        </p:nvGrpSpPr>
        <p:grpSpPr bwMode="auto">
          <a:xfrm>
            <a:off x="9614020" y="3740001"/>
            <a:ext cx="459136" cy="594360"/>
            <a:chOff x="15271" y="4801"/>
            <a:chExt cx="1460" cy="1890"/>
          </a:xfrm>
          <a:solidFill>
            <a:srgbClr val="0078D7"/>
          </a:solidFill>
        </p:grpSpPr>
        <p:sp>
          <p:nvSpPr>
            <p:cNvPr id="36" name="Freeform 82">
              <a:extLst>
                <a:ext uri="{FF2B5EF4-FFF2-40B4-BE49-F238E27FC236}">
                  <a16:creationId xmlns:a16="http://schemas.microsoft.com/office/drawing/2014/main" id="{3E7A45A4-979F-4385-B767-BAC17065AA0E}"/>
                </a:ext>
              </a:extLst>
            </p:cNvPr>
            <p:cNvSpPr>
              <a:spLocks noEditPoints="1"/>
            </p:cNvSpPr>
            <p:nvPr/>
          </p:nvSpPr>
          <p:spPr bwMode="auto">
            <a:xfrm>
              <a:off x="15271" y="4801"/>
              <a:ext cx="1460" cy="1890"/>
            </a:xfrm>
            <a:custGeom>
              <a:avLst/>
              <a:gdLst>
                <a:gd name="T0" fmla="*/ 564 w 618"/>
                <a:gd name="T1" fmla="*/ 87 h 800"/>
                <a:gd name="T2" fmla="*/ 476 w 618"/>
                <a:gd name="T3" fmla="*/ 87 h 800"/>
                <a:gd name="T4" fmla="*/ 476 w 618"/>
                <a:gd name="T5" fmla="*/ 68 h 800"/>
                <a:gd name="T6" fmla="*/ 408 w 618"/>
                <a:gd name="T7" fmla="*/ 0 h 800"/>
                <a:gd name="T8" fmla="*/ 210 w 618"/>
                <a:gd name="T9" fmla="*/ 0 h 800"/>
                <a:gd name="T10" fmla="*/ 142 w 618"/>
                <a:gd name="T11" fmla="*/ 68 h 800"/>
                <a:gd name="T12" fmla="*/ 142 w 618"/>
                <a:gd name="T13" fmla="*/ 87 h 800"/>
                <a:gd name="T14" fmla="*/ 54 w 618"/>
                <a:gd name="T15" fmla="*/ 87 h 800"/>
                <a:gd name="T16" fmla="*/ 0 w 618"/>
                <a:gd name="T17" fmla="*/ 140 h 800"/>
                <a:gd name="T18" fmla="*/ 0 w 618"/>
                <a:gd name="T19" fmla="*/ 175 h 800"/>
                <a:gd name="T20" fmla="*/ 33 w 618"/>
                <a:gd name="T21" fmla="*/ 175 h 800"/>
                <a:gd name="T22" fmla="*/ 33 w 618"/>
                <a:gd name="T23" fmla="*/ 716 h 800"/>
                <a:gd name="T24" fmla="*/ 117 w 618"/>
                <a:gd name="T25" fmla="*/ 800 h 800"/>
                <a:gd name="T26" fmla="*/ 501 w 618"/>
                <a:gd name="T27" fmla="*/ 800 h 800"/>
                <a:gd name="T28" fmla="*/ 585 w 618"/>
                <a:gd name="T29" fmla="*/ 716 h 800"/>
                <a:gd name="T30" fmla="*/ 585 w 618"/>
                <a:gd name="T31" fmla="*/ 175 h 800"/>
                <a:gd name="T32" fmla="*/ 618 w 618"/>
                <a:gd name="T33" fmla="*/ 175 h 800"/>
                <a:gd name="T34" fmla="*/ 618 w 618"/>
                <a:gd name="T35" fmla="*/ 140 h 800"/>
                <a:gd name="T36" fmla="*/ 564 w 618"/>
                <a:gd name="T37" fmla="*/ 87 h 800"/>
                <a:gd name="T38" fmla="*/ 191 w 618"/>
                <a:gd name="T39" fmla="*/ 68 h 800"/>
                <a:gd name="T40" fmla="*/ 210 w 618"/>
                <a:gd name="T41" fmla="*/ 49 h 800"/>
                <a:gd name="T42" fmla="*/ 408 w 618"/>
                <a:gd name="T43" fmla="*/ 49 h 800"/>
                <a:gd name="T44" fmla="*/ 427 w 618"/>
                <a:gd name="T45" fmla="*/ 68 h 800"/>
                <a:gd name="T46" fmla="*/ 427 w 618"/>
                <a:gd name="T47" fmla="*/ 87 h 800"/>
                <a:gd name="T48" fmla="*/ 191 w 618"/>
                <a:gd name="T49" fmla="*/ 87 h 800"/>
                <a:gd name="T50" fmla="*/ 191 w 618"/>
                <a:gd name="T51" fmla="*/ 68 h 800"/>
                <a:gd name="T52" fmla="*/ 524 w 618"/>
                <a:gd name="T53" fmla="*/ 716 h 800"/>
                <a:gd name="T54" fmla="*/ 501 w 618"/>
                <a:gd name="T55" fmla="*/ 739 h 800"/>
                <a:gd name="T56" fmla="*/ 117 w 618"/>
                <a:gd name="T57" fmla="*/ 739 h 800"/>
                <a:gd name="T58" fmla="*/ 94 w 618"/>
                <a:gd name="T59" fmla="*/ 716 h 800"/>
                <a:gd name="T60" fmla="*/ 94 w 618"/>
                <a:gd name="T61" fmla="*/ 175 h 800"/>
                <a:gd name="T62" fmla="*/ 524 w 618"/>
                <a:gd name="T63" fmla="*/ 175 h 800"/>
                <a:gd name="T64" fmla="*/ 524 w 618"/>
                <a:gd name="T65" fmla="*/ 7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8" h="800">
                  <a:moveTo>
                    <a:pt x="564" y="87"/>
                  </a:moveTo>
                  <a:cubicBezTo>
                    <a:pt x="476" y="87"/>
                    <a:pt x="476" y="87"/>
                    <a:pt x="476" y="87"/>
                  </a:cubicBezTo>
                  <a:cubicBezTo>
                    <a:pt x="476" y="68"/>
                    <a:pt x="476" y="68"/>
                    <a:pt x="476" y="68"/>
                  </a:cubicBezTo>
                  <a:cubicBezTo>
                    <a:pt x="476" y="30"/>
                    <a:pt x="446" y="0"/>
                    <a:pt x="408" y="0"/>
                  </a:cubicBezTo>
                  <a:cubicBezTo>
                    <a:pt x="210" y="0"/>
                    <a:pt x="210" y="0"/>
                    <a:pt x="210" y="0"/>
                  </a:cubicBezTo>
                  <a:cubicBezTo>
                    <a:pt x="172" y="0"/>
                    <a:pt x="142" y="30"/>
                    <a:pt x="142" y="68"/>
                  </a:cubicBezTo>
                  <a:cubicBezTo>
                    <a:pt x="142" y="87"/>
                    <a:pt x="142" y="87"/>
                    <a:pt x="142" y="87"/>
                  </a:cubicBezTo>
                  <a:cubicBezTo>
                    <a:pt x="54" y="87"/>
                    <a:pt x="54" y="87"/>
                    <a:pt x="54" y="87"/>
                  </a:cubicBezTo>
                  <a:cubicBezTo>
                    <a:pt x="24" y="87"/>
                    <a:pt x="0" y="111"/>
                    <a:pt x="0" y="140"/>
                  </a:cubicBezTo>
                  <a:cubicBezTo>
                    <a:pt x="0" y="175"/>
                    <a:pt x="0" y="175"/>
                    <a:pt x="0" y="175"/>
                  </a:cubicBezTo>
                  <a:cubicBezTo>
                    <a:pt x="33" y="175"/>
                    <a:pt x="33" y="175"/>
                    <a:pt x="33" y="175"/>
                  </a:cubicBezTo>
                  <a:cubicBezTo>
                    <a:pt x="33" y="716"/>
                    <a:pt x="33" y="716"/>
                    <a:pt x="33" y="716"/>
                  </a:cubicBezTo>
                  <a:cubicBezTo>
                    <a:pt x="33" y="762"/>
                    <a:pt x="71" y="800"/>
                    <a:pt x="117" y="800"/>
                  </a:cubicBezTo>
                  <a:cubicBezTo>
                    <a:pt x="501" y="800"/>
                    <a:pt x="501" y="800"/>
                    <a:pt x="501" y="800"/>
                  </a:cubicBezTo>
                  <a:cubicBezTo>
                    <a:pt x="547" y="800"/>
                    <a:pt x="585" y="762"/>
                    <a:pt x="585" y="716"/>
                  </a:cubicBezTo>
                  <a:cubicBezTo>
                    <a:pt x="585" y="175"/>
                    <a:pt x="585" y="175"/>
                    <a:pt x="585" y="175"/>
                  </a:cubicBezTo>
                  <a:cubicBezTo>
                    <a:pt x="618" y="175"/>
                    <a:pt x="618" y="175"/>
                    <a:pt x="618" y="175"/>
                  </a:cubicBezTo>
                  <a:cubicBezTo>
                    <a:pt x="618" y="140"/>
                    <a:pt x="618" y="140"/>
                    <a:pt x="618" y="140"/>
                  </a:cubicBezTo>
                  <a:cubicBezTo>
                    <a:pt x="618" y="111"/>
                    <a:pt x="594" y="87"/>
                    <a:pt x="564" y="87"/>
                  </a:cubicBezTo>
                  <a:close/>
                  <a:moveTo>
                    <a:pt x="191" y="68"/>
                  </a:moveTo>
                  <a:cubicBezTo>
                    <a:pt x="191" y="57"/>
                    <a:pt x="199" y="49"/>
                    <a:pt x="210" y="49"/>
                  </a:cubicBezTo>
                  <a:cubicBezTo>
                    <a:pt x="408" y="49"/>
                    <a:pt x="408" y="49"/>
                    <a:pt x="408" y="49"/>
                  </a:cubicBezTo>
                  <a:cubicBezTo>
                    <a:pt x="419" y="49"/>
                    <a:pt x="427" y="57"/>
                    <a:pt x="427" y="68"/>
                  </a:cubicBezTo>
                  <a:cubicBezTo>
                    <a:pt x="427" y="87"/>
                    <a:pt x="427" y="87"/>
                    <a:pt x="427" y="87"/>
                  </a:cubicBezTo>
                  <a:cubicBezTo>
                    <a:pt x="191" y="87"/>
                    <a:pt x="191" y="87"/>
                    <a:pt x="191" y="87"/>
                  </a:cubicBezTo>
                  <a:lnTo>
                    <a:pt x="191" y="68"/>
                  </a:lnTo>
                  <a:close/>
                  <a:moveTo>
                    <a:pt x="524" y="716"/>
                  </a:moveTo>
                  <a:cubicBezTo>
                    <a:pt x="524" y="729"/>
                    <a:pt x="513" y="739"/>
                    <a:pt x="501" y="739"/>
                  </a:cubicBezTo>
                  <a:cubicBezTo>
                    <a:pt x="117" y="739"/>
                    <a:pt x="117" y="739"/>
                    <a:pt x="117" y="739"/>
                  </a:cubicBezTo>
                  <a:cubicBezTo>
                    <a:pt x="105" y="739"/>
                    <a:pt x="94" y="729"/>
                    <a:pt x="94" y="716"/>
                  </a:cubicBezTo>
                  <a:cubicBezTo>
                    <a:pt x="94" y="175"/>
                    <a:pt x="94" y="175"/>
                    <a:pt x="94" y="175"/>
                  </a:cubicBezTo>
                  <a:cubicBezTo>
                    <a:pt x="524" y="175"/>
                    <a:pt x="524" y="175"/>
                    <a:pt x="524" y="175"/>
                  </a:cubicBezTo>
                  <a:lnTo>
                    <a:pt x="524" y="7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83">
              <a:extLst>
                <a:ext uri="{FF2B5EF4-FFF2-40B4-BE49-F238E27FC236}">
                  <a16:creationId xmlns:a16="http://schemas.microsoft.com/office/drawing/2014/main" id="{219F4D03-78CE-4D9E-997D-5EC021B95715}"/>
                </a:ext>
              </a:extLst>
            </p:cNvPr>
            <p:cNvSpPr>
              <a:spLocks noChangeArrowheads="1"/>
            </p:cNvSpPr>
            <p:nvPr/>
          </p:nvSpPr>
          <p:spPr bwMode="auto">
            <a:xfrm>
              <a:off x="15930" y="5274"/>
              <a:ext cx="144" cy="12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84">
              <a:extLst>
                <a:ext uri="{FF2B5EF4-FFF2-40B4-BE49-F238E27FC236}">
                  <a16:creationId xmlns:a16="http://schemas.microsoft.com/office/drawing/2014/main" id="{2CB98860-AF6D-486C-8EB7-829F84C61EE9}"/>
                </a:ext>
              </a:extLst>
            </p:cNvPr>
            <p:cNvSpPr>
              <a:spLocks noChangeArrowheads="1"/>
            </p:cNvSpPr>
            <p:nvPr/>
          </p:nvSpPr>
          <p:spPr bwMode="auto">
            <a:xfrm>
              <a:off x="16251" y="5274"/>
              <a:ext cx="144" cy="12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85">
              <a:extLst>
                <a:ext uri="{FF2B5EF4-FFF2-40B4-BE49-F238E27FC236}">
                  <a16:creationId xmlns:a16="http://schemas.microsoft.com/office/drawing/2014/main" id="{049F4DE9-2AC0-412C-80DA-A26781C4C2AD}"/>
                </a:ext>
              </a:extLst>
            </p:cNvPr>
            <p:cNvSpPr>
              <a:spLocks noChangeArrowheads="1"/>
            </p:cNvSpPr>
            <p:nvPr/>
          </p:nvSpPr>
          <p:spPr bwMode="auto">
            <a:xfrm>
              <a:off x="15606" y="5274"/>
              <a:ext cx="144" cy="12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2EC0B2F4-697D-45A4-A8EA-68CB359560CF}"/>
              </a:ext>
            </a:extLst>
          </p:cNvPr>
          <p:cNvGrpSpPr/>
          <p:nvPr/>
        </p:nvGrpSpPr>
        <p:grpSpPr>
          <a:xfrm>
            <a:off x="5767281" y="3782666"/>
            <a:ext cx="573754" cy="551695"/>
            <a:chOff x="7860760" y="1415401"/>
            <a:chExt cx="623243" cy="599281"/>
          </a:xfrm>
          <a:solidFill>
            <a:srgbClr val="0078D7"/>
          </a:solidFill>
        </p:grpSpPr>
        <p:sp>
          <p:nvSpPr>
            <p:cNvPr id="44" name="Freeform: Shape 43">
              <a:extLst>
                <a:ext uri="{FF2B5EF4-FFF2-40B4-BE49-F238E27FC236}">
                  <a16:creationId xmlns:a16="http://schemas.microsoft.com/office/drawing/2014/main" id="{48E545E1-8225-4D10-A12E-5CB64227C4FA}"/>
                </a:ext>
              </a:extLst>
            </p:cNvPr>
            <p:cNvSpPr/>
            <p:nvPr/>
          </p:nvSpPr>
          <p:spPr>
            <a:xfrm>
              <a:off x="8028502" y="1415401"/>
              <a:ext cx="446918" cy="446918"/>
            </a:xfrm>
            <a:custGeom>
              <a:avLst/>
              <a:gdLst>
                <a:gd name="connsiteX0" fmla="*/ 0 w 446918"/>
                <a:gd name="connsiteY0" fmla="*/ 0 h 446918"/>
                <a:gd name="connsiteX1" fmla="*/ 446918 w 446918"/>
                <a:gd name="connsiteY1" fmla="*/ 0 h 446918"/>
                <a:gd name="connsiteX2" fmla="*/ 446918 w 446918"/>
                <a:gd name="connsiteY2" fmla="*/ 446918 h 446918"/>
                <a:gd name="connsiteX3" fmla="*/ 158236 w 446918"/>
                <a:gd name="connsiteY3" fmla="*/ 446918 h 446918"/>
                <a:gd name="connsiteX4" fmla="*/ 158236 w 446918"/>
                <a:gd name="connsiteY4" fmla="*/ 391053 h 446918"/>
                <a:gd name="connsiteX5" fmla="*/ 391053 w 446918"/>
                <a:gd name="connsiteY5" fmla="*/ 391053 h 446918"/>
                <a:gd name="connsiteX6" fmla="*/ 391053 w 446918"/>
                <a:gd name="connsiteY6" fmla="*/ 55865 h 446918"/>
                <a:gd name="connsiteX7" fmla="*/ 55865 w 446918"/>
                <a:gd name="connsiteY7" fmla="*/ 55865 h 446918"/>
                <a:gd name="connsiteX8" fmla="*/ 55865 w 446918"/>
                <a:gd name="connsiteY8" fmla="*/ 306243 h 446918"/>
                <a:gd name="connsiteX9" fmla="*/ 0 w 446918"/>
                <a:gd name="connsiteY9" fmla="*/ 306243 h 44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918" h="446918">
                  <a:moveTo>
                    <a:pt x="0" y="0"/>
                  </a:moveTo>
                  <a:lnTo>
                    <a:pt x="446918" y="0"/>
                  </a:lnTo>
                  <a:lnTo>
                    <a:pt x="446918" y="446918"/>
                  </a:lnTo>
                  <a:lnTo>
                    <a:pt x="158236" y="446918"/>
                  </a:lnTo>
                  <a:lnTo>
                    <a:pt x="158236" y="391053"/>
                  </a:lnTo>
                  <a:lnTo>
                    <a:pt x="391053" y="391053"/>
                  </a:lnTo>
                  <a:lnTo>
                    <a:pt x="391053" y="55865"/>
                  </a:lnTo>
                  <a:lnTo>
                    <a:pt x="55865" y="55865"/>
                  </a:lnTo>
                  <a:lnTo>
                    <a:pt x="55865" y="306243"/>
                  </a:lnTo>
                  <a:lnTo>
                    <a:pt x="0" y="306243"/>
                  </a:lnTo>
                  <a:close/>
                </a:path>
              </a:pathLst>
            </a:cu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CE052E9F-65D6-46A1-B6E5-0EEBBEBF327C}"/>
                </a:ext>
              </a:extLst>
            </p:cNvPr>
            <p:cNvSpPr/>
            <p:nvPr/>
          </p:nvSpPr>
          <p:spPr>
            <a:xfrm>
              <a:off x="7890516" y="1744642"/>
              <a:ext cx="270040" cy="270040"/>
            </a:xfrm>
            <a:custGeom>
              <a:avLst/>
              <a:gdLst>
                <a:gd name="connsiteX0" fmla="*/ 0 w 270040"/>
                <a:gd name="connsiteY0" fmla="*/ 0 h 270040"/>
                <a:gd name="connsiteX1" fmla="*/ 184107 w 270040"/>
                <a:gd name="connsiteY1" fmla="*/ 0 h 270040"/>
                <a:gd name="connsiteX2" fmla="*/ 131301 w 270040"/>
                <a:gd name="connsiteY2" fmla="*/ 52806 h 270040"/>
                <a:gd name="connsiteX3" fmla="*/ 52806 w 270040"/>
                <a:gd name="connsiteY3" fmla="*/ 52806 h 270040"/>
                <a:gd name="connsiteX4" fmla="*/ 52806 w 270040"/>
                <a:gd name="connsiteY4" fmla="*/ 217234 h 270040"/>
                <a:gd name="connsiteX5" fmla="*/ 217234 w 270040"/>
                <a:gd name="connsiteY5" fmla="*/ 217234 h 270040"/>
                <a:gd name="connsiteX6" fmla="*/ 217234 w 270040"/>
                <a:gd name="connsiteY6" fmla="*/ 105995 h 270040"/>
                <a:gd name="connsiteX7" fmla="*/ 270040 w 270040"/>
                <a:gd name="connsiteY7" fmla="*/ 53189 h 270040"/>
                <a:gd name="connsiteX8" fmla="*/ 270040 w 270040"/>
                <a:gd name="connsiteY8" fmla="*/ 270040 h 270040"/>
                <a:gd name="connsiteX9" fmla="*/ 0 w 270040"/>
                <a:gd name="connsiteY9" fmla="*/ 270040 h 2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040" h="270040">
                  <a:moveTo>
                    <a:pt x="0" y="0"/>
                  </a:moveTo>
                  <a:lnTo>
                    <a:pt x="184107" y="0"/>
                  </a:lnTo>
                  <a:lnTo>
                    <a:pt x="131301" y="52806"/>
                  </a:lnTo>
                  <a:lnTo>
                    <a:pt x="52806" y="52806"/>
                  </a:lnTo>
                  <a:lnTo>
                    <a:pt x="52806" y="217234"/>
                  </a:lnTo>
                  <a:lnTo>
                    <a:pt x="217234" y="217234"/>
                  </a:lnTo>
                  <a:lnTo>
                    <a:pt x="217234" y="105995"/>
                  </a:lnTo>
                  <a:lnTo>
                    <a:pt x="270040" y="53189"/>
                  </a:lnTo>
                  <a:lnTo>
                    <a:pt x="270040" y="270040"/>
                  </a:lnTo>
                  <a:lnTo>
                    <a:pt x="0" y="270040"/>
                  </a:lnTo>
                  <a:close/>
                </a:path>
              </a:pathLst>
            </a:cu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20553C1B-2681-459B-BB7F-A25C1281DBB3}"/>
                </a:ext>
              </a:extLst>
            </p:cNvPr>
            <p:cNvSpPr/>
            <p:nvPr/>
          </p:nvSpPr>
          <p:spPr>
            <a:xfrm rot="18900000">
              <a:off x="7860760" y="1610359"/>
              <a:ext cx="623243" cy="209664"/>
            </a:xfrm>
            <a:custGeom>
              <a:avLst/>
              <a:gdLst>
                <a:gd name="connsiteX0" fmla="*/ 518411 w 623243"/>
                <a:gd name="connsiteY0" fmla="*/ 0 h 209664"/>
                <a:gd name="connsiteX1" fmla="*/ 623243 w 623243"/>
                <a:gd name="connsiteY1" fmla="*/ 104832 h 209664"/>
                <a:gd name="connsiteX2" fmla="*/ 518411 w 623243"/>
                <a:gd name="connsiteY2" fmla="*/ 209664 h 209664"/>
                <a:gd name="connsiteX3" fmla="*/ 518411 w 623243"/>
                <a:gd name="connsiteY3" fmla="*/ 126939 h 209664"/>
                <a:gd name="connsiteX4" fmla="*/ 0 w 623243"/>
                <a:gd name="connsiteY4" fmla="*/ 126939 h 209664"/>
                <a:gd name="connsiteX5" fmla="*/ 44214 w 623243"/>
                <a:gd name="connsiteY5" fmla="*/ 82725 h 209664"/>
                <a:gd name="connsiteX6" fmla="*/ 518411 w 623243"/>
                <a:gd name="connsiteY6" fmla="*/ 82725 h 2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243" h="209664">
                  <a:moveTo>
                    <a:pt x="518411" y="0"/>
                  </a:moveTo>
                  <a:lnTo>
                    <a:pt x="623243" y="104832"/>
                  </a:lnTo>
                  <a:lnTo>
                    <a:pt x="518411" y="209664"/>
                  </a:lnTo>
                  <a:lnTo>
                    <a:pt x="518411" y="126939"/>
                  </a:lnTo>
                  <a:lnTo>
                    <a:pt x="0" y="126939"/>
                  </a:lnTo>
                  <a:lnTo>
                    <a:pt x="44214" y="82725"/>
                  </a:lnTo>
                  <a:lnTo>
                    <a:pt x="518411" y="82725"/>
                  </a:lnTo>
                  <a:close/>
                </a:path>
              </a:pathLst>
            </a:cu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7" name="Rectangle 1">
            <a:extLst>
              <a:ext uri="{FF2B5EF4-FFF2-40B4-BE49-F238E27FC236}">
                <a16:creationId xmlns:a16="http://schemas.microsoft.com/office/drawing/2014/main" id="{812326ED-CFBE-44F7-9786-C6544A5854F9}"/>
              </a:ext>
            </a:extLst>
          </p:cNvPr>
          <p:cNvSpPr>
            <a:spLocks noChangeAspect="1"/>
          </p:cNvSpPr>
          <p:nvPr/>
        </p:nvSpPr>
        <p:spPr bwMode="auto">
          <a:xfrm>
            <a:off x="1949417" y="3786329"/>
            <a:ext cx="594360" cy="548032"/>
          </a:xfrm>
          <a:custGeom>
            <a:avLst/>
            <a:gdLst/>
            <a:ahLst/>
            <a:cxnLst/>
            <a:rect l="l" t="t" r="r" b="b"/>
            <a:pathLst>
              <a:path w="1631629" h="1504449">
                <a:moveTo>
                  <a:pt x="575213" y="0"/>
                </a:moveTo>
                <a:lnTo>
                  <a:pt x="1056416" y="0"/>
                </a:lnTo>
                <a:lnTo>
                  <a:pt x="1056416" y="398871"/>
                </a:lnTo>
                <a:lnTo>
                  <a:pt x="838674" y="398871"/>
                </a:lnTo>
                <a:lnTo>
                  <a:pt x="838674" y="502831"/>
                </a:lnTo>
                <a:lnTo>
                  <a:pt x="1413889" y="502831"/>
                </a:lnTo>
                <a:lnTo>
                  <a:pt x="1413889" y="548552"/>
                </a:lnTo>
                <a:lnTo>
                  <a:pt x="1413887" y="548552"/>
                </a:lnTo>
                <a:lnTo>
                  <a:pt x="1413887" y="618081"/>
                </a:lnTo>
                <a:lnTo>
                  <a:pt x="1631629" y="618081"/>
                </a:lnTo>
                <a:lnTo>
                  <a:pt x="1631629" y="859473"/>
                </a:lnTo>
                <a:lnTo>
                  <a:pt x="1239011" y="859473"/>
                </a:lnTo>
                <a:lnTo>
                  <a:pt x="1239011" y="1054144"/>
                </a:lnTo>
                <a:lnTo>
                  <a:pt x="1297471" y="1054144"/>
                </a:lnTo>
                <a:lnTo>
                  <a:pt x="1297471" y="956308"/>
                </a:lnTo>
                <a:lnTo>
                  <a:pt x="1626578" y="956308"/>
                </a:lnTo>
                <a:lnTo>
                  <a:pt x="1626578" y="1197700"/>
                </a:lnTo>
                <a:lnTo>
                  <a:pt x="1297471" y="1197700"/>
                </a:lnTo>
                <a:lnTo>
                  <a:pt x="1297471" y="1099863"/>
                </a:lnTo>
                <a:lnTo>
                  <a:pt x="1239011" y="1099863"/>
                </a:lnTo>
                <a:lnTo>
                  <a:pt x="1239011" y="1360894"/>
                </a:lnTo>
                <a:lnTo>
                  <a:pt x="1297471" y="1360894"/>
                </a:lnTo>
                <a:lnTo>
                  <a:pt x="1297471" y="1263057"/>
                </a:lnTo>
                <a:lnTo>
                  <a:pt x="1626578" y="1263057"/>
                </a:lnTo>
                <a:lnTo>
                  <a:pt x="1626578" y="1504449"/>
                </a:lnTo>
                <a:lnTo>
                  <a:pt x="1297471" y="1504449"/>
                </a:lnTo>
                <a:lnTo>
                  <a:pt x="1297471" y="1406613"/>
                </a:lnTo>
                <a:lnTo>
                  <a:pt x="1239011" y="1406613"/>
                </a:lnTo>
                <a:lnTo>
                  <a:pt x="1214557" y="1406613"/>
                </a:lnTo>
                <a:lnTo>
                  <a:pt x="1193292" y="1406613"/>
                </a:lnTo>
                <a:lnTo>
                  <a:pt x="1193292" y="859473"/>
                </a:lnTo>
                <a:lnTo>
                  <a:pt x="1150426" y="859473"/>
                </a:lnTo>
                <a:lnTo>
                  <a:pt x="1150426" y="618081"/>
                </a:lnTo>
                <a:lnTo>
                  <a:pt x="1368168" y="618081"/>
                </a:lnTo>
                <a:lnTo>
                  <a:pt x="1368168" y="548552"/>
                </a:lnTo>
                <a:lnTo>
                  <a:pt x="838674" y="548552"/>
                </a:lnTo>
                <a:lnTo>
                  <a:pt x="838674" y="618081"/>
                </a:lnTo>
                <a:lnTo>
                  <a:pt x="1056416" y="618081"/>
                </a:lnTo>
                <a:lnTo>
                  <a:pt x="1056416" y="859473"/>
                </a:lnTo>
                <a:lnTo>
                  <a:pt x="665382" y="859473"/>
                </a:lnTo>
                <a:lnTo>
                  <a:pt x="665382" y="1054144"/>
                </a:lnTo>
                <a:lnTo>
                  <a:pt x="725375" y="1054144"/>
                </a:lnTo>
                <a:lnTo>
                  <a:pt x="725375" y="956308"/>
                </a:lnTo>
                <a:lnTo>
                  <a:pt x="1054482" y="956308"/>
                </a:lnTo>
                <a:lnTo>
                  <a:pt x="1054482" y="1197700"/>
                </a:lnTo>
                <a:lnTo>
                  <a:pt x="725375" y="1197700"/>
                </a:lnTo>
                <a:lnTo>
                  <a:pt x="725375" y="1099863"/>
                </a:lnTo>
                <a:lnTo>
                  <a:pt x="665382" y="1099863"/>
                </a:lnTo>
                <a:lnTo>
                  <a:pt x="653864" y="1099863"/>
                </a:lnTo>
                <a:lnTo>
                  <a:pt x="619663" y="1099863"/>
                </a:lnTo>
                <a:lnTo>
                  <a:pt x="619663" y="859473"/>
                </a:lnTo>
                <a:lnTo>
                  <a:pt x="575213" y="859473"/>
                </a:lnTo>
                <a:lnTo>
                  <a:pt x="575213" y="618081"/>
                </a:lnTo>
                <a:lnTo>
                  <a:pt x="792955" y="618081"/>
                </a:lnTo>
                <a:lnTo>
                  <a:pt x="792955" y="548552"/>
                </a:lnTo>
                <a:lnTo>
                  <a:pt x="263461" y="548552"/>
                </a:lnTo>
                <a:lnTo>
                  <a:pt x="263461" y="618081"/>
                </a:lnTo>
                <a:lnTo>
                  <a:pt x="481203" y="618081"/>
                </a:lnTo>
                <a:lnTo>
                  <a:pt x="481203" y="859473"/>
                </a:lnTo>
                <a:lnTo>
                  <a:pt x="87546" y="859473"/>
                </a:lnTo>
                <a:lnTo>
                  <a:pt x="87546" y="1054144"/>
                </a:lnTo>
                <a:lnTo>
                  <a:pt x="152095" y="1054144"/>
                </a:lnTo>
                <a:lnTo>
                  <a:pt x="152095" y="956308"/>
                </a:lnTo>
                <a:lnTo>
                  <a:pt x="481202" y="956308"/>
                </a:lnTo>
                <a:lnTo>
                  <a:pt x="481202" y="1197700"/>
                </a:lnTo>
                <a:lnTo>
                  <a:pt x="152095" y="1197700"/>
                </a:lnTo>
                <a:lnTo>
                  <a:pt x="152095" y="1099863"/>
                </a:lnTo>
                <a:lnTo>
                  <a:pt x="87546" y="1099863"/>
                </a:lnTo>
                <a:lnTo>
                  <a:pt x="87546" y="1360894"/>
                </a:lnTo>
                <a:lnTo>
                  <a:pt x="152095" y="1360894"/>
                </a:lnTo>
                <a:lnTo>
                  <a:pt x="152095" y="1263057"/>
                </a:lnTo>
                <a:lnTo>
                  <a:pt x="481202" y="1263057"/>
                </a:lnTo>
                <a:lnTo>
                  <a:pt x="481202" y="1504449"/>
                </a:lnTo>
                <a:lnTo>
                  <a:pt x="152095" y="1504449"/>
                </a:lnTo>
                <a:lnTo>
                  <a:pt x="152095" y="1406613"/>
                </a:lnTo>
                <a:lnTo>
                  <a:pt x="87546" y="1406613"/>
                </a:lnTo>
                <a:lnTo>
                  <a:pt x="66947" y="1406613"/>
                </a:lnTo>
                <a:lnTo>
                  <a:pt x="41827" y="1406613"/>
                </a:lnTo>
                <a:lnTo>
                  <a:pt x="41827" y="859473"/>
                </a:lnTo>
                <a:lnTo>
                  <a:pt x="0" y="859473"/>
                </a:lnTo>
                <a:lnTo>
                  <a:pt x="0" y="618081"/>
                </a:lnTo>
                <a:lnTo>
                  <a:pt x="217742" y="618081"/>
                </a:lnTo>
                <a:lnTo>
                  <a:pt x="217742" y="545232"/>
                </a:lnTo>
                <a:lnTo>
                  <a:pt x="217742" y="545232"/>
                </a:lnTo>
                <a:lnTo>
                  <a:pt x="217742" y="502831"/>
                </a:lnTo>
                <a:lnTo>
                  <a:pt x="792955" y="502831"/>
                </a:lnTo>
                <a:lnTo>
                  <a:pt x="792955" y="398871"/>
                </a:lnTo>
                <a:lnTo>
                  <a:pt x="575213" y="39887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06025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40D57-AB89-420C-A28A-F548C542F7A9}"/>
              </a:ext>
            </a:extLst>
          </p:cNvPr>
          <p:cNvSpPr>
            <a:spLocks noGrp="1"/>
          </p:cNvSpPr>
          <p:nvPr>
            <p:ph type="title"/>
          </p:nvPr>
        </p:nvSpPr>
        <p:spPr/>
        <p:txBody>
          <a:bodyPr/>
          <a:lstStyle/>
          <a:p>
            <a:r>
              <a:rPr lang="en-US" dirty="0"/>
              <a:t>Why serverless?</a:t>
            </a:r>
          </a:p>
        </p:txBody>
      </p:sp>
    </p:spTree>
    <p:extLst>
      <p:ext uri="{BB962C8B-B14F-4D97-AF65-F5344CB8AC3E}">
        <p14:creationId xmlns:p14="http://schemas.microsoft.com/office/powerpoint/2010/main" val="213112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erson sitting at a desk using a computer&#10;&#10;Description generated with high confidence">
            <a:extLst>
              <a:ext uri="{FF2B5EF4-FFF2-40B4-BE49-F238E27FC236}">
                <a16:creationId xmlns:a16="http://schemas.microsoft.com/office/drawing/2014/main" id="{B02D654E-49D2-435C-AB83-3C5A439909E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15316" y="-658097"/>
            <a:ext cx="8310718" cy="8310718"/>
          </a:xfrm>
          <a:prstGeom prst="ellipse">
            <a:avLst/>
          </a:prstGeom>
          <a:solidFill>
            <a:srgbClr val="FFFFFF">
              <a:shade val="85000"/>
            </a:srgbClr>
          </a:solidFill>
          <a:ln w="88900" cap="sq">
            <a:solidFill>
              <a:schemeClr val="accent1"/>
            </a:solidFill>
            <a:miter lim="800000"/>
          </a:ln>
          <a:effectLst/>
          <a:scene3d>
            <a:camera prst="orthographicFront"/>
            <a:lightRig rig="twoPt" dir="t">
              <a:rot lat="0" lon="0" rev="7200000"/>
            </a:lightRig>
          </a:scene3d>
          <a:sp3d>
            <a:bevelT w="25400" h="19050"/>
            <a:contourClr>
              <a:srgbClr val="FFFFFF"/>
            </a:contourClr>
          </a:sp3d>
        </p:spPr>
      </p:pic>
      <p:grpSp>
        <p:nvGrpSpPr>
          <p:cNvPr id="37" name="Group 36">
            <a:extLst>
              <a:ext uri="{FF2B5EF4-FFF2-40B4-BE49-F238E27FC236}">
                <a16:creationId xmlns:a16="http://schemas.microsoft.com/office/drawing/2014/main" id="{E45D4A64-622D-495F-9961-93531BD0B7F7}"/>
              </a:ext>
            </a:extLst>
          </p:cNvPr>
          <p:cNvGrpSpPr/>
          <p:nvPr/>
        </p:nvGrpSpPr>
        <p:grpSpPr>
          <a:xfrm>
            <a:off x="390790" y="1575674"/>
            <a:ext cx="5647060" cy="4609475"/>
            <a:chOff x="632009" y="1575401"/>
            <a:chExt cx="5647861" cy="4610129"/>
          </a:xfrm>
        </p:grpSpPr>
        <p:grpSp>
          <p:nvGrpSpPr>
            <p:cNvPr id="34" name="Group 33">
              <a:extLst>
                <a:ext uri="{FF2B5EF4-FFF2-40B4-BE49-F238E27FC236}">
                  <a16:creationId xmlns:a16="http://schemas.microsoft.com/office/drawing/2014/main" id="{E9AD55DE-4B7B-4CD7-BD21-D981E02A988A}"/>
                </a:ext>
              </a:extLst>
            </p:cNvPr>
            <p:cNvGrpSpPr/>
            <p:nvPr/>
          </p:nvGrpSpPr>
          <p:grpSpPr>
            <a:xfrm>
              <a:off x="862386" y="1575401"/>
              <a:ext cx="5408520" cy="822960"/>
              <a:chOff x="862386" y="1575401"/>
              <a:chExt cx="5408520" cy="822960"/>
            </a:xfrm>
          </p:grpSpPr>
          <p:cxnSp>
            <p:nvCxnSpPr>
              <p:cNvPr id="8" name="Straight Connector 7">
                <a:extLst>
                  <a:ext uri="{FF2B5EF4-FFF2-40B4-BE49-F238E27FC236}">
                    <a16:creationId xmlns:a16="http://schemas.microsoft.com/office/drawing/2014/main" id="{1A811E26-C2A0-4A05-9CC7-30FFCB63547F}"/>
                  </a:ext>
                </a:extLst>
              </p:cNvPr>
              <p:cNvCxnSpPr/>
              <p:nvPr/>
            </p:nvCxnSpPr>
            <p:spPr>
              <a:xfrm>
                <a:off x="1843909" y="15754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5338519-F1FA-4D99-A57D-7628009714B8}"/>
                  </a:ext>
                </a:extLst>
              </p:cNvPr>
              <p:cNvSpPr txBox="1"/>
              <p:nvPr/>
            </p:nvSpPr>
            <p:spPr>
              <a:xfrm>
                <a:off x="1973226" y="1725271"/>
                <a:ext cx="4297680" cy="533451"/>
              </a:xfrm>
              <a:prstGeom prst="rect">
                <a:avLst/>
              </a:prstGeom>
              <a:noFill/>
            </p:spPr>
            <p:txBody>
              <a:bodyPr wrap="square" rtlCol="0">
                <a:spAutoFit/>
              </a:bodyPr>
              <a:lstStyle/>
              <a:p>
                <a:pPr defTabSz="932563">
                  <a:defRPr/>
                </a:pPr>
                <a:r>
                  <a:rPr lang="en-US" sz="1399">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olve business problems—not technology </a:t>
                </a:r>
                <a:br>
                  <a:rPr lang="en-US" sz="1399">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br>
                <a:r>
                  <a:rPr lang="en-US" sz="1399">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problems related to undifferentiated heavy lifting</a:t>
                </a:r>
              </a:p>
            </p:txBody>
          </p:sp>
          <p:grpSp>
            <p:nvGrpSpPr>
              <p:cNvPr id="15" name="Group 14">
                <a:extLst>
                  <a:ext uri="{FF2B5EF4-FFF2-40B4-BE49-F238E27FC236}">
                    <a16:creationId xmlns:a16="http://schemas.microsoft.com/office/drawing/2014/main" id="{12257971-D1F0-4AFA-B156-679E77EE6429}"/>
                  </a:ext>
                </a:extLst>
              </p:cNvPr>
              <p:cNvGrpSpPr/>
              <p:nvPr/>
            </p:nvGrpSpPr>
            <p:grpSpPr>
              <a:xfrm>
                <a:off x="862386" y="1677453"/>
                <a:ext cx="727967" cy="625515"/>
                <a:chOff x="845970" y="1556351"/>
                <a:chExt cx="727967" cy="625515"/>
              </a:xfrm>
            </p:grpSpPr>
            <p:sp>
              <p:nvSpPr>
                <p:cNvPr id="14" name="TextBox 13">
                  <a:extLst>
                    <a:ext uri="{FF2B5EF4-FFF2-40B4-BE49-F238E27FC236}">
                      <a16:creationId xmlns:a16="http://schemas.microsoft.com/office/drawing/2014/main" id="{8C777C34-7BE6-47C5-A45B-B34307CC22FC}"/>
                    </a:ext>
                  </a:extLst>
                </p:cNvPr>
                <p:cNvSpPr txBox="1"/>
                <p:nvPr/>
              </p:nvSpPr>
              <p:spPr>
                <a:xfrm>
                  <a:off x="845970" y="1836654"/>
                  <a:ext cx="727967" cy="345212"/>
                </a:xfrm>
                <a:prstGeom prst="rect">
                  <a:avLst/>
                </a:prstGeom>
                <a:noFill/>
              </p:spPr>
              <p:txBody>
                <a:bodyPr wrap="none" rtlCol="0">
                  <a:spAutoFit/>
                </a:bodyPr>
                <a:lstStyle/>
                <a:p>
                  <a:pPr algn="ctr" defTabSz="932563">
                    <a:defRPr/>
                  </a:pPr>
                  <a:r>
                    <a:rPr lang="en-US" sz="1599" dirty="0">
                      <a:solidFill>
                        <a:srgbClr val="0078D4"/>
                      </a:solidFill>
                      <a:latin typeface="Segoe UI Semibold" panose="020B0702040204020203" pitchFamily="34" charset="0"/>
                      <a:cs typeface="Segoe UI Semibold" panose="020B0702040204020203" pitchFamily="34" charset="0"/>
                    </a:rPr>
                    <a:t>Focus</a:t>
                  </a:r>
                </a:p>
              </p:txBody>
            </p:sp>
            <p:sp>
              <p:nvSpPr>
                <p:cNvPr id="33" name="Freeform 118">
                  <a:extLst>
                    <a:ext uri="{FF2B5EF4-FFF2-40B4-BE49-F238E27FC236}">
                      <a16:creationId xmlns:a16="http://schemas.microsoft.com/office/drawing/2014/main" id="{2CE069B2-BA97-469A-8865-D16CBF5F0774}"/>
                    </a:ext>
                  </a:extLst>
                </p:cNvPr>
                <p:cNvSpPr>
                  <a:spLocks noChangeAspect="1" noEditPoints="1"/>
                </p:cNvSpPr>
                <p:nvPr/>
              </p:nvSpPr>
              <p:spPr bwMode="black">
                <a:xfrm>
                  <a:off x="1027073" y="1556351"/>
                  <a:ext cx="365760" cy="253008"/>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rgbClr val="0078D7"/>
                </a:solidFill>
                <a:ln>
                  <a:noFill/>
                </a:ln>
                <a:extLst/>
              </p:spPr>
              <p:txBody>
                <a:bodyPr vert="horz" wrap="square" lIns="69943" tIns="34971" rIns="69943" bIns="34971" numCol="1" anchor="t" anchorCtr="0" compatLnSpc="1">
                  <a:prstTxWarp prst="textNoShape">
                    <a:avLst/>
                  </a:prstTxWarp>
                </a:bodyPr>
                <a:lstStyle/>
                <a:p>
                  <a:pPr defTabSz="932563">
                    <a:defRPr/>
                  </a:pPr>
                  <a:endParaRPr lang="en-US" sz="1349">
                    <a:solidFill>
                      <a:srgbClr val="000000"/>
                    </a:solidFill>
                    <a:latin typeface="Segoe UI"/>
                  </a:endParaRPr>
                </a:p>
              </p:txBody>
            </p:sp>
          </p:grpSp>
        </p:grpSp>
        <p:grpSp>
          <p:nvGrpSpPr>
            <p:cNvPr id="35" name="Group 34">
              <a:extLst>
                <a:ext uri="{FF2B5EF4-FFF2-40B4-BE49-F238E27FC236}">
                  <a16:creationId xmlns:a16="http://schemas.microsoft.com/office/drawing/2014/main" id="{0B66BB63-7A92-4CFE-B817-78088F36353C}"/>
                </a:ext>
              </a:extLst>
            </p:cNvPr>
            <p:cNvGrpSpPr/>
            <p:nvPr/>
          </p:nvGrpSpPr>
          <p:grpSpPr>
            <a:xfrm>
              <a:off x="632009" y="2955564"/>
              <a:ext cx="5643379" cy="1349323"/>
              <a:chOff x="632009" y="2965089"/>
              <a:chExt cx="5643379" cy="1349323"/>
            </a:xfrm>
          </p:grpSpPr>
          <p:cxnSp>
            <p:nvCxnSpPr>
              <p:cNvPr id="20" name="Straight Connector 19">
                <a:extLst>
                  <a:ext uri="{FF2B5EF4-FFF2-40B4-BE49-F238E27FC236}">
                    <a16:creationId xmlns:a16="http://schemas.microsoft.com/office/drawing/2014/main" id="{327686FC-6D6A-4AD4-941E-DB9231F28246}"/>
                  </a:ext>
                </a:extLst>
              </p:cNvPr>
              <p:cNvCxnSpPr/>
              <p:nvPr/>
            </p:nvCxnSpPr>
            <p:spPr>
              <a:xfrm>
                <a:off x="1843909" y="3215328"/>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7B9D4CD-6EE7-498E-B29D-6954A7DD85E1}"/>
                  </a:ext>
                </a:extLst>
              </p:cNvPr>
              <p:cNvSpPr txBox="1"/>
              <p:nvPr/>
            </p:nvSpPr>
            <p:spPr>
              <a:xfrm>
                <a:off x="1977708" y="2965089"/>
                <a:ext cx="4297680" cy="1349323"/>
              </a:xfrm>
              <a:prstGeom prst="rect">
                <a:avLst/>
              </a:prstGeom>
              <a:noFill/>
            </p:spPr>
            <p:txBody>
              <a:bodyPr wrap="square" rtlCol="0">
                <a:spAutoFit/>
              </a:bodyPr>
              <a:lstStyle/>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horter time to market</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Fixed costs converted to variable costs</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Better service stability</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Better development and testing management</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Less waste</a:t>
                </a:r>
              </a:p>
            </p:txBody>
          </p:sp>
          <p:grpSp>
            <p:nvGrpSpPr>
              <p:cNvPr id="17" name="Group 16">
                <a:extLst>
                  <a:ext uri="{FF2B5EF4-FFF2-40B4-BE49-F238E27FC236}">
                    <a16:creationId xmlns:a16="http://schemas.microsoft.com/office/drawing/2014/main" id="{738274E8-12A3-4BA4-A638-7E1EC8C7DDBE}"/>
                  </a:ext>
                </a:extLst>
              </p:cNvPr>
              <p:cNvGrpSpPr/>
              <p:nvPr/>
            </p:nvGrpSpPr>
            <p:grpSpPr>
              <a:xfrm>
                <a:off x="632009" y="3232910"/>
                <a:ext cx="1188720" cy="794454"/>
                <a:chOff x="578221" y="3008289"/>
                <a:chExt cx="1188720" cy="794454"/>
              </a:xfrm>
            </p:grpSpPr>
            <p:sp>
              <p:nvSpPr>
                <p:cNvPr id="16" name="TextBox 15">
                  <a:extLst>
                    <a:ext uri="{FF2B5EF4-FFF2-40B4-BE49-F238E27FC236}">
                      <a16:creationId xmlns:a16="http://schemas.microsoft.com/office/drawing/2014/main" id="{8B598C7A-1FB3-443B-A012-57F96FA12A73}"/>
                    </a:ext>
                  </a:extLst>
                </p:cNvPr>
                <p:cNvSpPr txBox="1"/>
                <p:nvPr/>
              </p:nvSpPr>
              <p:spPr>
                <a:xfrm>
                  <a:off x="578221" y="3457531"/>
                  <a:ext cx="1188720" cy="345212"/>
                </a:xfrm>
                <a:prstGeom prst="rect">
                  <a:avLst/>
                </a:prstGeom>
                <a:noFill/>
              </p:spPr>
              <p:txBody>
                <a:bodyPr wrap="square" rtlCol="0">
                  <a:spAutoFit/>
                </a:bodyPr>
                <a:lstStyle/>
                <a:p>
                  <a:pPr algn="ctr" defTabSz="932563">
                    <a:defRPr/>
                  </a:pPr>
                  <a:r>
                    <a:rPr lang="en-US" sz="1599" dirty="0">
                      <a:solidFill>
                        <a:srgbClr val="0078D4"/>
                      </a:solidFill>
                      <a:latin typeface="Segoe UI Semibold" panose="020B0702040204020203" pitchFamily="34" charset="0"/>
                      <a:cs typeface="Segoe UI Semibold" panose="020B0702040204020203" pitchFamily="34" charset="0"/>
                    </a:rPr>
                    <a:t>Efficiency</a:t>
                  </a:r>
                </a:p>
              </p:txBody>
            </p:sp>
            <p:pic>
              <p:nvPicPr>
                <p:cNvPr id="2" name="Picture 1">
                  <a:extLst>
                    <a:ext uri="{FF2B5EF4-FFF2-40B4-BE49-F238E27FC236}">
                      <a16:creationId xmlns:a16="http://schemas.microsoft.com/office/drawing/2014/main" id="{3160EB0E-D6AC-49FB-9606-9DD6D46251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8845" y="3008289"/>
                  <a:ext cx="347472" cy="419010"/>
                </a:xfrm>
                <a:prstGeom prst="rect">
                  <a:avLst/>
                </a:prstGeom>
              </p:spPr>
            </p:pic>
          </p:grpSp>
        </p:grpSp>
        <p:grpSp>
          <p:nvGrpSpPr>
            <p:cNvPr id="36" name="Group 35">
              <a:extLst>
                <a:ext uri="{FF2B5EF4-FFF2-40B4-BE49-F238E27FC236}">
                  <a16:creationId xmlns:a16="http://schemas.microsoft.com/office/drawing/2014/main" id="{9A3CC4A5-FA8C-4D33-83F7-EB33BB28689F}"/>
                </a:ext>
              </a:extLst>
            </p:cNvPr>
            <p:cNvGrpSpPr/>
            <p:nvPr/>
          </p:nvGrpSpPr>
          <p:grpSpPr>
            <a:xfrm>
              <a:off x="632009" y="4836207"/>
              <a:ext cx="5647861" cy="1349323"/>
              <a:chOff x="632009" y="4836207"/>
              <a:chExt cx="5647861" cy="1349323"/>
            </a:xfrm>
          </p:grpSpPr>
          <p:cxnSp>
            <p:nvCxnSpPr>
              <p:cNvPr id="21" name="Straight Connector 20">
                <a:extLst>
                  <a:ext uri="{FF2B5EF4-FFF2-40B4-BE49-F238E27FC236}">
                    <a16:creationId xmlns:a16="http://schemas.microsoft.com/office/drawing/2014/main" id="{5CAE478D-1F5D-4325-9E64-D139926F3947}"/>
                  </a:ext>
                </a:extLst>
              </p:cNvPr>
              <p:cNvCxnSpPr/>
              <p:nvPr/>
            </p:nvCxnSpPr>
            <p:spPr>
              <a:xfrm>
                <a:off x="1843909" y="5086446"/>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5CC4A2A-8E27-4733-81DF-D2669477AAC1}"/>
                  </a:ext>
                </a:extLst>
              </p:cNvPr>
              <p:cNvSpPr txBox="1"/>
              <p:nvPr/>
            </p:nvSpPr>
            <p:spPr>
              <a:xfrm>
                <a:off x="1982190" y="4836207"/>
                <a:ext cx="4297680" cy="1349323"/>
              </a:xfrm>
              <a:prstGeom prst="rect">
                <a:avLst/>
              </a:prstGeom>
              <a:noFill/>
            </p:spPr>
            <p:txBody>
              <a:bodyPr wrap="square" rtlCol="0">
                <a:spAutoFit/>
              </a:bodyPr>
              <a:lstStyle/>
              <a:p>
                <a:pPr defTabSz="932563">
                  <a:spcAft>
                    <a:spcPts val="300"/>
                  </a:spcAft>
                  <a:defRPr/>
                </a:pPr>
                <a:r>
                  <a:rPr lang="en-US" sz="1399">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implified starting experience</a:t>
                </a:r>
              </a:p>
              <a:p>
                <a:pPr defTabSz="932563">
                  <a:spcAft>
                    <a:spcPts val="300"/>
                  </a:spcAft>
                  <a:defRPr/>
                </a:pPr>
                <a:r>
                  <a:rPr lang="en-US" sz="1399">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Easier pivoting means more flexibility</a:t>
                </a:r>
              </a:p>
              <a:p>
                <a:pPr defTabSz="932563">
                  <a:spcAft>
                    <a:spcPts val="300"/>
                  </a:spcAft>
                  <a:defRPr/>
                </a:pPr>
                <a:r>
                  <a:rPr lang="en-US" sz="1399">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Easier experimentation</a:t>
                </a:r>
              </a:p>
              <a:p>
                <a:pPr defTabSz="932563">
                  <a:spcAft>
                    <a:spcPts val="300"/>
                  </a:spcAft>
                  <a:defRPr/>
                </a:pPr>
                <a:r>
                  <a:rPr lang="en-US" sz="1399">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cale at your pace—don’t bet the farm on Day 1</a:t>
                </a:r>
              </a:p>
              <a:p>
                <a:pPr defTabSz="932563">
                  <a:spcAft>
                    <a:spcPts val="300"/>
                  </a:spcAft>
                  <a:defRPr/>
                </a:pPr>
                <a:r>
                  <a:rPr lang="en-US" sz="1399">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Natural fit for microservices</a:t>
                </a:r>
              </a:p>
            </p:txBody>
          </p:sp>
          <p:grpSp>
            <p:nvGrpSpPr>
              <p:cNvPr id="18" name="Group 17">
                <a:extLst>
                  <a:ext uri="{FF2B5EF4-FFF2-40B4-BE49-F238E27FC236}">
                    <a16:creationId xmlns:a16="http://schemas.microsoft.com/office/drawing/2014/main" id="{3AF3D7A2-CA5D-4807-AD9A-5CC8F2625F86}"/>
                  </a:ext>
                </a:extLst>
              </p:cNvPr>
              <p:cNvGrpSpPr/>
              <p:nvPr/>
            </p:nvGrpSpPr>
            <p:grpSpPr>
              <a:xfrm>
                <a:off x="632009" y="5127145"/>
                <a:ext cx="1188720" cy="748220"/>
                <a:chOff x="578221" y="4925641"/>
                <a:chExt cx="1188720" cy="748220"/>
              </a:xfrm>
            </p:grpSpPr>
            <p:sp>
              <p:nvSpPr>
                <p:cNvPr id="19" name="TextBox 18">
                  <a:extLst>
                    <a:ext uri="{FF2B5EF4-FFF2-40B4-BE49-F238E27FC236}">
                      <a16:creationId xmlns:a16="http://schemas.microsoft.com/office/drawing/2014/main" id="{3E682C7D-7D98-43A2-BF90-3957D3FA05AC}"/>
                    </a:ext>
                  </a:extLst>
                </p:cNvPr>
                <p:cNvSpPr txBox="1"/>
                <p:nvPr/>
              </p:nvSpPr>
              <p:spPr>
                <a:xfrm>
                  <a:off x="578221" y="5328649"/>
                  <a:ext cx="1188720" cy="345212"/>
                </a:xfrm>
                <a:prstGeom prst="rect">
                  <a:avLst/>
                </a:prstGeom>
                <a:noFill/>
              </p:spPr>
              <p:txBody>
                <a:bodyPr wrap="square" rtlCol="0">
                  <a:spAutoFit/>
                </a:bodyPr>
                <a:lstStyle/>
                <a:p>
                  <a:pPr algn="ctr" defTabSz="932563">
                    <a:defRPr/>
                  </a:pPr>
                  <a:r>
                    <a:rPr lang="en-US" sz="1599" dirty="0">
                      <a:solidFill>
                        <a:srgbClr val="0078D4"/>
                      </a:solidFill>
                      <a:latin typeface="Segoe UI Semibold" panose="020B0702040204020203" pitchFamily="34" charset="0"/>
                      <a:cs typeface="Segoe UI Semibold" panose="020B0702040204020203" pitchFamily="34" charset="0"/>
                    </a:rPr>
                    <a:t>Flexibility</a:t>
                  </a:r>
                </a:p>
              </p:txBody>
            </p:sp>
            <p:pic>
              <p:nvPicPr>
                <p:cNvPr id="9" name="Picture 8">
                  <a:extLst>
                    <a:ext uri="{FF2B5EF4-FFF2-40B4-BE49-F238E27FC236}">
                      <a16:creationId xmlns:a16="http://schemas.microsoft.com/office/drawing/2014/main" id="{60783A7C-7178-4B44-85C5-684742204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8469" y="4925641"/>
                  <a:ext cx="348224" cy="365760"/>
                </a:xfrm>
                <a:prstGeom prst="rect">
                  <a:avLst/>
                </a:prstGeom>
              </p:spPr>
            </p:pic>
          </p:grpSp>
        </p:grpSp>
      </p:grpSp>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p:txBody>
          <a:bodyPr/>
          <a:lstStyle/>
          <a:p>
            <a:r>
              <a:rPr lang="en-US"/>
              <a:t>What are the benefits?</a:t>
            </a:r>
          </a:p>
        </p:txBody>
      </p:sp>
    </p:spTree>
    <p:extLst>
      <p:ext uri="{BB962C8B-B14F-4D97-AF65-F5344CB8AC3E}">
        <p14:creationId xmlns:p14="http://schemas.microsoft.com/office/powerpoint/2010/main" val="36768768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p14="http://schemas.microsoft.com/office/powerpoint/2010/main">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at a desk in front of a window&#10;&#10;Description generated with very high confidence">
            <a:extLst>
              <a:ext uri="{FF2B5EF4-FFF2-40B4-BE49-F238E27FC236}">
                <a16:creationId xmlns:a16="http://schemas.microsoft.com/office/drawing/2014/main" id="{A8D9FA7E-D01E-46C3-B2E5-BAB4531A956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881" y="497"/>
            <a:ext cx="4571352" cy="6993533"/>
          </a:xfrm>
          <a:prstGeom prst="rect">
            <a:avLst/>
          </a:prstGeom>
        </p:spPr>
      </p:pic>
      <p:cxnSp>
        <p:nvCxnSpPr>
          <p:cNvPr id="5" name="Straight Connector 4">
            <a:extLst>
              <a:ext uri="{FF2B5EF4-FFF2-40B4-BE49-F238E27FC236}">
                <a16:creationId xmlns:a16="http://schemas.microsoft.com/office/drawing/2014/main" id="{DB74640E-4F09-4C9F-9C79-D853F0634616}"/>
              </a:ext>
            </a:extLst>
          </p:cNvPr>
          <p:cNvCxnSpPr>
            <a:cxnSpLocks/>
          </p:cNvCxnSpPr>
          <p:nvPr/>
        </p:nvCxnSpPr>
        <p:spPr>
          <a:xfrm>
            <a:off x="4572234" y="495"/>
            <a:ext cx="0" cy="6993536"/>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4F087BAF-F98B-42AE-A4DD-4ABDB321B838}"/>
              </a:ext>
            </a:extLst>
          </p:cNvPr>
          <p:cNvSpPr>
            <a:spLocks noGrp="1"/>
          </p:cNvSpPr>
          <p:nvPr>
            <p:ph type="title" idx="4294967295"/>
          </p:nvPr>
        </p:nvSpPr>
        <p:spPr>
          <a:xfrm>
            <a:off x="5118867" y="296296"/>
            <a:ext cx="7316726" cy="565027"/>
          </a:xfrm>
        </p:spPr>
        <p:txBody>
          <a:bodyPr/>
          <a:lstStyle/>
          <a:p>
            <a:r>
              <a:rPr lang="en-US" dirty="0"/>
              <a:t>Sample scenarios for Functions</a:t>
            </a:r>
          </a:p>
        </p:txBody>
      </p:sp>
      <p:sp>
        <p:nvSpPr>
          <p:cNvPr id="15" name="Text Placeholder 3">
            <a:extLst>
              <a:ext uri="{FF2B5EF4-FFF2-40B4-BE49-F238E27FC236}">
                <a16:creationId xmlns:a16="http://schemas.microsoft.com/office/drawing/2014/main" id="{38FCB036-D44C-4D4A-A82D-0756BC4243DC}"/>
              </a:ext>
            </a:extLst>
          </p:cNvPr>
          <p:cNvSpPr txBox="1">
            <a:spLocks/>
          </p:cNvSpPr>
          <p:nvPr/>
        </p:nvSpPr>
        <p:spPr>
          <a:xfrm>
            <a:off x="4932892" y="1100989"/>
            <a:ext cx="7316715" cy="559723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defRPr/>
            </a:pPr>
            <a:endParaRPr lang="en-US" sz="2856" dirty="0">
              <a:solidFill>
                <a:srgbClr val="0078D4"/>
              </a:solidFill>
            </a:endParaRPr>
          </a:p>
          <a:p>
            <a:pPr marL="0" indent="0" defTabSz="951304">
              <a:buNone/>
              <a:defRPr/>
            </a:pPr>
            <a:r>
              <a:rPr lang="en-US" sz="2856" dirty="0">
                <a:solidFill>
                  <a:srgbClr val="0078D4"/>
                </a:solidFill>
              </a:rPr>
              <a:t>Web/Mobile </a:t>
            </a:r>
            <a:r>
              <a:rPr lang="en-US" sz="2856" dirty="0">
                <a:gradFill>
                  <a:gsLst>
                    <a:gs pos="1250">
                      <a:srgbClr val="1A1A1A"/>
                    </a:gs>
                    <a:gs pos="100000">
                      <a:srgbClr val="1A1A1A"/>
                    </a:gs>
                  </a:gsLst>
                  <a:lin ang="5400000" scaled="0"/>
                </a:gradFill>
              </a:rPr>
              <a:t>app workloads</a:t>
            </a:r>
          </a:p>
          <a:p>
            <a:pPr marL="0" indent="0" defTabSz="951304">
              <a:buNone/>
              <a:defRPr/>
            </a:pPr>
            <a:endParaRPr lang="en-US" sz="2856" dirty="0">
              <a:gradFill>
                <a:gsLst>
                  <a:gs pos="1250">
                    <a:srgbClr val="1A1A1A"/>
                  </a:gs>
                  <a:gs pos="100000">
                    <a:srgbClr val="1A1A1A"/>
                  </a:gs>
                </a:gsLst>
                <a:lin ang="5400000" scaled="0"/>
              </a:gradFill>
            </a:endParaRPr>
          </a:p>
          <a:p>
            <a:pPr marL="0" indent="0" defTabSz="951304">
              <a:buNone/>
              <a:defRPr/>
            </a:pPr>
            <a:r>
              <a:rPr lang="en-US" sz="2856" dirty="0">
                <a:solidFill>
                  <a:srgbClr val="0078D4"/>
                </a:solidFill>
              </a:rPr>
              <a:t>IoT-connected</a:t>
            </a:r>
            <a:r>
              <a:rPr lang="en-US" sz="2856" dirty="0">
                <a:gradFill>
                  <a:gsLst>
                    <a:gs pos="1250">
                      <a:srgbClr val="1A1A1A"/>
                    </a:gs>
                    <a:gs pos="100000">
                      <a:srgbClr val="1A1A1A"/>
                    </a:gs>
                  </a:gsLst>
                  <a:lin ang="5400000" scaled="0"/>
                </a:gradFill>
              </a:rPr>
              <a:t> backends</a:t>
            </a:r>
          </a:p>
          <a:p>
            <a:pPr marL="0" indent="0" defTabSz="951304">
              <a:buNone/>
              <a:defRPr/>
            </a:pPr>
            <a:endParaRPr lang="en-US" sz="2856" dirty="0">
              <a:gradFill>
                <a:gsLst>
                  <a:gs pos="1250">
                    <a:srgbClr val="1A1A1A"/>
                  </a:gs>
                  <a:gs pos="100000">
                    <a:srgbClr val="1A1A1A"/>
                  </a:gs>
                </a:gsLst>
                <a:lin ang="5400000" scaled="0"/>
              </a:gradFill>
            </a:endParaRPr>
          </a:p>
          <a:p>
            <a:pPr marL="0" indent="0" defTabSz="951304">
              <a:buNone/>
              <a:defRPr/>
            </a:pPr>
            <a:r>
              <a:rPr lang="en-US" sz="2856" dirty="0">
                <a:solidFill>
                  <a:srgbClr val="0078D4"/>
                </a:solidFill>
              </a:rPr>
              <a:t>Real-time</a:t>
            </a:r>
            <a:r>
              <a:rPr lang="en-US" sz="2856" dirty="0">
                <a:gradFill>
                  <a:gsLst>
                    <a:gs pos="1250">
                      <a:srgbClr val="1A1A1A"/>
                    </a:gs>
                    <a:gs pos="100000">
                      <a:srgbClr val="1A1A1A"/>
                    </a:gs>
                  </a:gsLst>
                  <a:lin ang="5400000" scaled="0"/>
                </a:gradFill>
              </a:rPr>
              <a:t> processing</a:t>
            </a:r>
          </a:p>
          <a:p>
            <a:pPr marL="0" indent="0" defTabSz="951304">
              <a:buNone/>
              <a:defRPr/>
            </a:pPr>
            <a:endParaRPr lang="en-US" sz="2856" dirty="0">
              <a:gradFill>
                <a:gsLst>
                  <a:gs pos="1250">
                    <a:srgbClr val="1A1A1A"/>
                  </a:gs>
                  <a:gs pos="100000">
                    <a:srgbClr val="1A1A1A"/>
                  </a:gs>
                </a:gsLst>
                <a:lin ang="5400000" scaled="0"/>
              </a:gradFill>
            </a:endParaRPr>
          </a:p>
          <a:p>
            <a:pPr marL="0" indent="0" defTabSz="951304">
              <a:buNone/>
              <a:defRPr/>
            </a:pPr>
            <a:r>
              <a:rPr lang="en-US" sz="2856" dirty="0">
                <a:solidFill>
                  <a:srgbClr val="0078D4"/>
                </a:solidFill>
              </a:rPr>
              <a:t>Automation</a:t>
            </a:r>
            <a:r>
              <a:rPr lang="en-US" sz="2856" dirty="0">
                <a:gradFill>
                  <a:gsLst>
                    <a:gs pos="1250">
                      <a:srgbClr val="1A1A1A"/>
                    </a:gs>
                    <a:gs pos="100000">
                      <a:srgbClr val="1A1A1A"/>
                    </a:gs>
                  </a:gsLst>
                  <a:lin ang="5400000" scaled="0"/>
                </a:gradFill>
              </a:rPr>
              <a:t> of infrastructure</a:t>
            </a:r>
          </a:p>
        </p:txBody>
      </p:sp>
    </p:spTree>
    <p:extLst>
      <p:ext uri="{BB962C8B-B14F-4D97-AF65-F5344CB8AC3E}">
        <p14:creationId xmlns:p14="http://schemas.microsoft.com/office/powerpoint/2010/main" val="2463516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811E26-C2A0-4A05-9CC7-30FFCB63547F}"/>
              </a:ext>
            </a:extLst>
          </p:cNvPr>
          <p:cNvCxnSpPr>
            <a:cxnSpLocks/>
          </p:cNvCxnSpPr>
          <p:nvPr/>
        </p:nvCxnSpPr>
        <p:spPr>
          <a:xfrm>
            <a:off x="7607809" y="1454729"/>
            <a:ext cx="0" cy="1089106"/>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5338519-F1FA-4D99-A57D-7628009714B8}"/>
              </a:ext>
            </a:extLst>
          </p:cNvPr>
          <p:cNvSpPr txBox="1"/>
          <p:nvPr/>
        </p:nvSpPr>
        <p:spPr>
          <a:xfrm>
            <a:off x="7737126" y="1617549"/>
            <a:ext cx="4586489"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nnovative programming model for faster developmen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mprehensive set of platform services to build upon</a:t>
            </a:r>
          </a:p>
        </p:txBody>
      </p:sp>
      <p:grpSp>
        <p:nvGrpSpPr>
          <p:cNvPr id="15" name="Group 14">
            <a:extLst>
              <a:ext uri="{FF2B5EF4-FFF2-40B4-BE49-F238E27FC236}">
                <a16:creationId xmlns:a16="http://schemas.microsoft.com/office/drawing/2014/main" id="{12257971-D1F0-4AFA-B156-679E77EE6429}"/>
              </a:ext>
            </a:extLst>
          </p:cNvPr>
          <p:cNvGrpSpPr/>
          <p:nvPr/>
        </p:nvGrpSpPr>
        <p:grpSpPr>
          <a:xfrm>
            <a:off x="6633441" y="1677453"/>
            <a:ext cx="713657" cy="618857"/>
            <a:chOff x="853125" y="1556351"/>
            <a:chExt cx="713657" cy="618857"/>
          </a:xfrm>
        </p:grpSpPr>
        <p:sp>
          <p:nvSpPr>
            <p:cNvPr id="14" name="TextBox 13">
              <a:extLst>
                <a:ext uri="{FF2B5EF4-FFF2-40B4-BE49-F238E27FC236}">
                  <a16:creationId xmlns:a16="http://schemas.microsoft.com/office/drawing/2014/main" id="{8C777C34-7BE6-47C5-A45B-B34307CC22FC}"/>
                </a:ext>
              </a:extLst>
            </p:cNvPr>
            <p:cNvSpPr txBox="1"/>
            <p:nvPr/>
          </p:nvSpPr>
          <p:spPr>
            <a:xfrm>
              <a:off x="853125" y="1836654"/>
              <a:ext cx="713657" cy="338554"/>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Focus</a:t>
              </a:r>
            </a:p>
          </p:txBody>
        </p:sp>
        <p:sp>
          <p:nvSpPr>
            <p:cNvPr id="33" name="Freeform 118">
              <a:extLst>
                <a:ext uri="{FF2B5EF4-FFF2-40B4-BE49-F238E27FC236}">
                  <a16:creationId xmlns:a16="http://schemas.microsoft.com/office/drawing/2014/main" id="{2CE069B2-BA97-469A-8865-D16CBF5F0774}"/>
                </a:ext>
              </a:extLst>
            </p:cNvPr>
            <p:cNvSpPr>
              <a:spLocks noChangeAspect="1" noEditPoints="1"/>
            </p:cNvSpPr>
            <p:nvPr/>
          </p:nvSpPr>
          <p:spPr bwMode="black">
            <a:xfrm>
              <a:off x="1027073" y="1556351"/>
              <a:ext cx="365760" cy="253008"/>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20" name="Straight Connector 19">
            <a:extLst>
              <a:ext uri="{FF2B5EF4-FFF2-40B4-BE49-F238E27FC236}">
                <a16:creationId xmlns:a16="http://schemas.microsoft.com/office/drawing/2014/main" id="{327686FC-6D6A-4AD4-941E-DB9231F28246}"/>
              </a:ext>
            </a:extLst>
          </p:cNvPr>
          <p:cNvCxnSpPr>
            <a:cxnSpLocks/>
          </p:cNvCxnSpPr>
          <p:nvPr/>
        </p:nvCxnSpPr>
        <p:spPr>
          <a:xfrm>
            <a:off x="7607809" y="3106883"/>
            <a:ext cx="0" cy="1015399"/>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7B9D4CD-6EE7-498E-B29D-6954A7DD85E1}"/>
              </a:ext>
            </a:extLst>
          </p:cNvPr>
          <p:cNvSpPr txBox="1"/>
          <p:nvPr/>
        </p:nvSpPr>
        <p:spPr>
          <a:xfrm>
            <a:off x="7737126" y="3195573"/>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uperior developer tools</a:t>
            </a:r>
          </a:p>
          <a:p>
            <a:pPr marL="0" marR="0" lvl="0" indent="0" algn="l" defTabSz="457200" rtl="0" eaLnBrk="1" fontAlgn="auto" latinLnBrk="0" hangingPunct="1">
              <a:lnSpc>
                <a:spcPct val="100000"/>
              </a:lnSpc>
              <a:spcBef>
                <a:spcPts val="0"/>
              </a:spcBef>
              <a:spcAft>
                <a:spcPts val="300"/>
              </a:spcAft>
              <a:buClrTx/>
              <a:buSzTx/>
              <a:buFontTx/>
              <a:buNone/>
              <a:tabLst/>
              <a:defRPr/>
            </a:pPr>
            <a:endPar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Excellent integration with CI/CD and monitoring tools</a:t>
            </a:r>
          </a:p>
        </p:txBody>
      </p:sp>
      <p:grpSp>
        <p:nvGrpSpPr>
          <p:cNvPr id="17" name="Group 16">
            <a:extLst>
              <a:ext uri="{FF2B5EF4-FFF2-40B4-BE49-F238E27FC236}">
                <a16:creationId xmlns:a16="http://schemas.microsoft.com/office/drawing/2014/main" id="{738274E8-12A3-4BA4-A638-7E1EC8C7DDBE}"/>
              </a:ext>
            </a:extLst>
          </p:cNvPr>
          <p:cNvGrpSpPr/>
          <p:nvPr/>
        </p:nvGrpSpPr>
        <p:grpSpPr>
          <a:xfrm>
            <a:off x="6395909" y="3223385"/>
            <a:ext cx="1188720" cy="787796"/>
            <a:chOff x="578221" y="3008289"/>
            <a:chExt cx="1188720" cy="787796"/>
          </a:xfrm>
        </p:grpSpPr>
        <p:sp>
          <p:nvSpPr>
            <p:cNvPr id="16" name="TextBox 15">
              <a:extLst>
                <a:ext uri="{FF2B5EF4-FFF2-40B4-BE49-F238E27FC236}">
                  <a16:creationId xmlns:a16="http://schemas.microsoft.com/office/drawing/2014/main" id="{8B598C7A-1FB3-443B-A012-57F96FA12A73}"/>
                </a:ext>
              </a:extLst>
            </p:cNvPr>
            <p:cNvSpPr txBox="1"/>
            <p:nvPr/>
          </p:nvSpPr>
          <p:spPr>
            <a:xfrm>
              <a:off x="578221" y="3457531"/>
              <a:ext cx="11887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Efficiency</a:t>
              </a:r>
            </a:p>
          </p:txBody>
        </p:sp>
        <p:pic>
          <p:nvPicPr>
            <p:cNvPr id="2" name="Picture 1">
              <a:extLst>
                <a:ext uri="{FF2B5EF4-FFF2-40B4-BE49-F238E27FC236}">
                  <a16:creationId xmlns:a16="http://schemas.microsoft.com/office/drawing/2014/main" id="{3160EB0E-D6AC-49FB-9606-9DD6D46251D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8845" y="3008289"/>
              <a:ext cx="347472" cy="419010"/>
            </a:xfrm>
            <a:prstGeom prst="rect">
              <a:avLst/>
            </a:prstGeom>
          </p:spPr>
        </p:pic>
      </p:grpSp>
      <p:cxnSp>
        <p:nvCxnSpPr>
          <p:cNvPr id="21" name="Straight Connector 20">
            <a:extLst>
              <a:ext uri="{FF2B5EF4-FFF2-40B4-BE49-F238E27FC236}">
                <a16:creationId xmlns:a16="http://schemas.microsoft.com/office/drawing/2014/main" id="{5CAE478D-1F5D-4325-9E64-D139926F3947}"/>
              </a:ext>
            </a:extLst>
          </p:cNvPr>
          <p:cNvCxnSpPr>
            <a:cxnSpLocks/>
          </p:cNvCxnSpPr>
          <p:nvPr/>
        </p:nvCxnSpPr>
        <p:spPr>
          <a:xfrm>
            <a:off x="7607809" y="4966855"/>
            <a:ext cx="0" cy="103607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5CC4A2A-8E27-4733-81DF-D2669477AAC1}"/>
              </a:ext>
            </a:extLst>
          </p:cNvPr>
          <p:cNvSpPr txBox="1"/>
          <p:nvPr/>
        </p:nvSpPr>
        <p:spPr>
          <a:xfrm>
            <a:off x="7737125" y="5086446"/>
            <a:ext cx="4378663"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conomical for starters and predictable for enterprises</a:t>
            </a:r>
          </a:p>
          <a:p>
            <a:pPr marL="0" marR="0" lvl="0" indent="0" algn="l" defTabSz="457200" rtl="0" eaLnBrk="1" fontAlgn="auto" latinLnBrk="0" hangingPunct="1">
              <a:lnSpc>
                <a:spcPct val="100000"/>
              </a:lnSpc>
              <a:spcBef>
                <a:spcPts val="0"/>
              </a:spcBef>
              <a:spcAft>
                <a:spcPts val="300"/>
              </a:spcAft>
              <a:buClrTx/>
              <a:buSzTx/>
              <a:buFontTx/>
              <a:buNone/>
              <a:tabLst/>
              <a:defRPr/>
            </a:pPr>
            <a:endPar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marR="0" lvl="0" indent="0" algn="l" defTabSz="457200" rtl="0" eaLnBrk="1" fontAlgn="auto" latinLnBrk="0" hangingPunct="1">
              <a:lnSpc>
                <a:spcPct val="100000"/>
              </a:lnSpc>
              <a:spcBef>
                <a:spcPts val="0"/>
              </a:spcBef>
              <a:spcAft>
                <a:spcPts val="300"/>
              </a:spcAft>
              <a:buClrTx/>
              <a:buSzTx/>
              <a:buFontTx/>
              <a:buNone/>
              <a:tabLst/>
              <a:defRPr/>
            </a:pPr>
            <a:r>
              <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Open platform makes multi-cloud a reality</a:t>
            </a:r>
          </a:p>
        </p:txBody>
      </p:sp>
      <p:grpSp>
        <p:nvGrpSpPr>
          <p:cNvPr id="18" name="Group 17">
            <a:extLst>
              <a:ext uri="{FF2B5EF4-FFF2-40B4-BE49-F238E27FC236}">
                <a16:creationId xmlns:a16="http://schemas.microsoft.com/office/drawing/2014/main" id="{3AF3D7A2-CA5D-4807-AD9A-5CC8F2625F86}"/>
              </a:ext>
            </a:extLst>
          </p:cNvPr>
          <p:cNvGrpSpPr/>
          <p:nvPr/>
        </p:nvGrpSpPr>
        <p:grpSpPr>
          <a:xfrm>
            <a:off x="6395909" y="5127145"/>
            <a:ext cx="1188720" cy="741562"/>
            <a:chOff x="578221" y="4925641"/>
            <a:chExt cx="1188720" cy="741562"/>
          </a:xfrm>
        </p:grpSpPr>
        <p:sp>
          <p:nvSpPr>
            <p:cNvPr id="19" name="TextBox 18">
              <a:extLst>
                <a:ext uri="{FF2B5EF4-FFF2-40B4-BE49-F238E27FC236}">
                  <a16:creationId xmlns:a16="http://schemas.microsoft.com/office/drawing/2014/main" id="{3E682C7D-7D98-43A2-BF90-3957D3FA05AC}"/>
                </a:ext>
              </a:extLst>
            </p:cNvPr>
            <p:cNvSpPr txBox="1"/>
            <p:nvPr/>
          </p:nvSpPr>
          <p:spPr>
            <a:xfrm>
              <a:off x="578221" y="5328649"/>
              <a:ext cx="11887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Flexibility</a:t>
              </a:r>
            </a:p>
          </p:txBody>
        </p:sp>
        <p:pic>
          <p:nvPicPr>
            <p:cNvPr id="9" name="Picture 8">
              <a:extLst>
                <a:ext uri="{FF2B5EF4-FFF2-40B4-BE49-F238E27FC236}">
                  <a16:creationId xmlns:a16="http://schemas.microsoft.com/office/drawing/2014/main" id="{60783A7C-7178-4B44-85C5-6847422046E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8469" y="4925641"/>
              <a:ext cx="348224" cy="365760"/>
            </a:xfrm>
            <a:prstGeom prst="rect">
              <a:avLst/>
            </a:prstGeom>
          </p:spPr>
        </p:pic>
      </p:grpSp>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a:xfrm>
            <a:off x="379461" y="2804093"/>
            <a:ext cx="6372414" cy="758825"/>
          </a:xfrm>
        </p:spPr>
        <p:txBody>
          <a:bodyPr/>
          <a:lstStyle/>
          <a:p>
            <a:r>
              <a:rPr lang="en-US"/>
              <a:t>Azure</a:t>
            </a:r>
            <a:br>
              <a:rPr lang="en-US"/>
            </a:br>
            <a:r>
              <a:rPr lang="en-US"/>
              <a:t>best cloud for serverless</a:t>
            </a:r>
          </a:p>
        </p:txBody>
      </p:sp>
    </p:spTree>
    <p:extLst>
      <p:ext uri="{BB962C8B-B14F-4D97-AF65-F5344CB8AC3E}">
        <p14:creationId xmlns:p14="http://schemas.microsoft.com/office/powerpoint/2010/main" val="27369481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C373446-CCFC-40B0-80A8-4B4E6E4E8B01}"/>
              </a:ext>
            </a:extLst>
          </p:cNvPr>
          <p:cNvSpPr txBox="1"/>
          <p:nvPr/>
        </p:nvSpPr>
        <p:spPr>
          <a:xfrm>
            <a:off x="914603" y="1636451"/>
            <a:ext cx="1435008"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bold" panose="020B0702040204020203" pitchFamily="34" charset="0"/>
                <a:ea typeface="+mn-ea"/>
                <a:cs typeface="Segoe UI Semibold" panose="020B0702040204020203" pitchFamily="34" charset="0"/>
              </a:rPr>
              <a:t>Development</a:t>
            </a:r>
          </a:p>
        </p:txBody>
      </p:sp>
      <p:sp>
        <p:nvSpPr>
          <p:cNvPr id="6" name="TextBox 5">
            <a:extLst>
              <a:ext uri="{FF2B5EF4-FFF2-40B4-BE49-F238E27FC236}">
                <a16:creationId xmlns:a16="http://schemas.microsoft.com/office/drawing/2014/main" id="{58F1B57A-DB8D-420B-94CA-45F089D8135D}"/>
              </a:ext>
            </a:extLst>
          </p:cNvPr>
          <p:cNvSpPr txBox="1"/>
          <p:nvPr/>
        </p:nvSpPr>
        <p:spPr>
          <a:xfrm>
            <a:off x="7181004" y="1636451"/>
            <a:ext cx="987771"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bold" panose="020B0702040204020203" pitchFamily="34" charset="0"/>
                <a:ea typeface="+mn-ea"/>
                <a:cs typeface="Segoe UI Semibold" panose="020B0702040204020203" pitchFamily="34" charset="0"/>
              </a:rPr>
              <a:t>Platform</a:t>
            </a:r>
          </a:p>
        </p:txBody>
      </p:sp>
      <p:grpSp>
        <p:nvGrpSpPr>
          <p:cNvPr id="22" name="Group 21">
            <a:extLst>
              <a:ext uri="{FF2B5EF4-FFF2-40B4-BE49-F238E27FC236}">
                <a16:creationId xmlns:a16="http://schemas.microsoft.com/office/drawing/2014/main" id="{031E8AEF-7049-4649-B4CA-150EB55CC6F3}"/>
              </a:ext>
            </a:extLst>
          </p:cNvPr>
          <p:cNvGrpSpPr/>
          <p:nvPr/>
        </p:nvGrpSpPr>
        <p:grpSpPr>
          <a:xfrm>
            <a:off x="472683" y="3663367"/>
            <a:ext cx="2367288" cy="758739"/>
            <a:chOff x="601720" y="3946072"/>
            <a:chExt cx="2367288" cy="758739"/>
          </a:xfrm>
        </p:grpSpPr>
        <p:sp>
          <p:nvSpPr>
            <p:cNvPr id="9" name="Rectangle 8">
              <a:extLst>
                <a:ext uri="{FF2B5EF4-FFF2-40B4-BE49-F238E27FC236}">
                  <a16:creationId xmlns:a16="http://schemas.microsoft.com/office/drawing/2014/main" id="{2DD8068F-94B8-48F5-8767-5F358FFF3DB6}"/>
                </a:ext>
              </a:extLst>
            </p:cNvPr>
            <p:cNvSpPr/>
            <p:nvPr/>
          </p:nvSpPr>
          <p:spPr bwMode="auto">
            <a:xfrm>
              <a:off x="601720" y="3946072"/>
              <a:ext cx="2367288" cy="758739"/>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Local development</a:t>
              </a:r>
            </a:p>
          </p:txBody>
        </p:sp>
        <p:sp>
          <p:nvSpPr>
            <p:cNvPr id="14" name="Freeform 33">
              <a:extLst>
                <a:ext uri="{FF2B5EF4-FFF2-40B4-BE49-F238E27FC236}">
                  <a16:creationId xmlns:a16="http://schemas.microsoft.com/office/drawing/2014/main" id="{62B5A517-0113-4BE7-872C-9FD89634BCCF}"/>
                </a:ext>
              </a:extLst>
            </p:cNvPr>
            <p:cNvSpPr>
              <a:spLocks noEditPoints="1"/>
            </p:cNvSpPr>
            <p:nvPr/>
          </p:nvSpPr>
          <p:spPr bwMode="auto">
            <a:xfrm>
              <a:off x="829420" y="4159583"/>
              <a:ext cx="367846" cy="331718"/>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652E750D-C1B5-4279-B95A-4342C835F6B9}"/>
              </a:ext>
            </a:extLst>
          </p:cNvPr>
          <p:cNvGrpSpPr/>
          <p:nvPr/>
        </p:nvGrpSpPr>
        <p:grpSpPr>
          <a:xfrm>
            <a:off x="472683" y="4463638"/>
            <a:ext cx="2367288" cy="758739"/>
            <a:chOff x="601720" y="4726013"/>
            <a:chExt cx="2367288" cy="758739"/>
          </a:xfrm>
        </p:grpSpPr>
        <p:sp>
          <p:nvSpPr>
            <p:cNvPr id="10" name="Rectangle 9">
              <a:extLst>
                <a:ext uri="{FF2B5EF4-FFF2-40B4-BE49-F238E27FC236}">
                  <a16:creationId xmlns:a16="http://schemas.microsoft.com/office/drawing/2014/main" id="{75130140-86BE-48B1-85AA-B56283B0A77F}"/>
                </a:ext>
              </a:extLst>
            </p:cNvPr>
            <p:cNvSpPr/>
            <p:nvPr/>
          </p:nvSpPr>
          <p:spPr bwMode="auto">
            <a:xfrm>
              <a:off x="601720" y="4726013"/>
              <a:ext cx="2367288" cy="758739"/>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onitoring</a:t>
              </a:r>
            </a:p>
          </p:txBody>
        </p:sp>
        <p:sp>
          <p:nvSpPr>
            <p:cNvPr id="15" name="Freeform 41">
              <a:extLst>
                <a:ext uri="{FF2B5EF4-FFF2-40B4-BE49-F238E27FC236}">
                  <a16:creationId xmlns:a16="http://schemas.microsoft.com/office/drawing/2014/main" id="{C9EE7FDE-5236-4B75-A4B4-0FA2B65E2F46}"/>
                </a:ext>
              </a:extLst>
            </p:cNvPr>
            <p:cNvSpPr>
              <a:spLocks noEditPoints="1"/>
            </p:cNvSpPr>
            <p:nvPr/>
          </p:nvSpPr>
          <p:spPr bwMode="auto">
            <a:xfrm>
              <a:off x="806921" y="4879959"/>
              <a:ext cx="412843" cy="441308"/>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5D9737CA-F03A-427B-8D49-3DA6889E261E}"/>
              </a:ext>
            </a:extLst>
          </p:cNvPr>
          <p:cNvGrpSpPr/>
          <p:nvPr/>
        </p:nvGrpSpPr>
        <p:grpSpPr>
          <a:xfrm>
            <a:off x="421516" y="2066619"/>
            <a:ext cx="2421183" cy="754945"/>
            <a:chOff x="550553" y="2389348"/>
            <a:chExt cx="2421183" cy="754945"/>
          </a:xfrm>
        </p:grpSpPr>
        <p:sp>
          <p:nvSpPr>
            <p:cNvPr id="11" name="Rectangle 10">
              <a:extLst>
                <a:ext uri="{FF2B5EF4-FFF2-40B4-BE49-F238E27FC236}">
                  <a16:creationId xmlns:a16="http://schemas.microsoft.com/office/drawing/2014/main" id="{D3BE10B6-E920-460C-8C79-746B674B0159}"/>
                </a:ext>
              </a:extLst>
            </p:cNvPr>
            <p:cNvSpPr/>
            <p:nvPr/>
          </p:nvSpPr>
          <p:spPr bwMode="auto">
            <a:xfrm>
              <a:off x="601721" y="2389348"/>
              <a:ext cx="2370015" cy="754945"/>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DE support</a:t>
              </a:r>
            </a:p>
          </p:txBody>
        </p:sp>
        <p:pic>
          <p:nvPicPr>
            <p:cNvPr id="16" name="Picture 15">
              <a:extLst>
                <a:ext uri="{FF2B5EF4-FFF2-40B4-BE49-F238E27FC236}">
                  <a16:creationId xmlns:a16="http://schemas.microsoft.com/office/drawing/2014/main" id="{4DF97BB3-7406-4B2A-A29D-8C8F111D2E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4612" b="31602"/>
            <a:stretch/>
          </p:blipFill>
          <p:spPr>
            <a:xfrm>
              <a:off x="550553" y="2579931"/>
              <a:ext cx="925579" cy="373778"/>
            </a:xfrm>
            <a:prstGeom prst="rect">
              <a:avLst/>
            </a:prstGeom>
          </p:spPr>
        </p:pic>
      </p:grpSp>
      <p:grpSp>
        <p:nvGrpSpPr>
          <p:cNvPr id="21" name="Group 20">
            <a:extLst>
              <a:ext uri="{FF2B5EF4-FFF2-40B4-BE49-F238E27FC236}">
                <a16:creationId xmlns:a16="http://schemas.microsoft.com/office/drawing/2014/main" id="{91380561-A75B-4FBF-9831-58AEF7CB8967}"/>
              </a:ext>
            </a:extLst>
          </p:cNvPr>
          <p:cNvGrpSpPr/>
          <p:nvPr/>
        </p:nvGrpSpPr>
        <p:grpSpPr>
          <a:xfrm>
            <a:off x="472683" y="2863096"/>
            <a:ext cx="2367288" cy="758739"/>
            <a:chOff x="601720" y="3168541"/>
            <a:chExt cx="2367288" cy="758739"/>
          </a:xfrm>
        </p:grpSpPr>
        <p:sp>
          <p:nvSpPr>
            <p:cNvPr id="12" name="Rectangle 11">
              <a:extLst>
                <a:ext uri="{FF2B5EF4-FFF2-40B4-BE49-F238E27FC236}">
                  <a16:creationId xmlns:a16="http://schemas.microsoft.com/office/drawing/2014/main" id="{94F74A60-080D-4AC7-8E0A-8C87B6DE9563}"/>
                </a:ext>
              </a:extLst>
            </p:cNvPr>
            <p:cNvSpPr/>
            <p:nvPr/>
          </p:nvSpPr>
          <p:spPr bwMode="auto">
            <a:xfrm>
              <a:off x="601720" y="3168541"/>
              <a:ext cx="2367288" cy="758739"/>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tegrated DevOps</a:t>
              </a:r>
            </a:p>
          </p:txBody>
        </p:sp>
        <p:sp>
          <p:nvSpPr>
            <p:cNvPr id="17" name="arrow_5">
              <a:extLst>
                <a:ext uri="{FF2B5EF4-FFF2-40B4-BE49-F238E27FC236}">
                  <a16:creationId xmlns:a16="http://schemas.microsoft.com/office/drawing/2014/main" id="{5DBB2518-863C-4465-8FAE-4293E5BFD029}"/>
                </a:ext>
              </a:extLst>
            </p:cNvPr>
            <p:cNvSpPr>
              <a:spLocks noChangeAspect="1" noEditPoints="1"/>
            </p:cNvSpPr>
            <p:nvPr/>
          </p:nvSpPr>
          <p:spPr bwMode="auto">
            <a:xfrm>
              <a:off x="831249" y="3362353"/>
              <a:ext cx="364188" cy="365656"/>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4" name="Group 23">
            <a:extLst>
              <a:ext uri="{FF2B5EF4-FFF2-40B4-BE49-F238E27FC236}">
                <a16:creationId xmlns:a16="http://schemas.microsoft.com/office/drawing/2014/main" id="{1CEC6E4F-021A-4D7B-9277-248D61AAACEE}"/>
              </a:ext>
            </a:extLst>
          </p:cNvPr>
          <p:cNvGrpSpPr/>
          <p:nvPr/>
        </p:nvGrpSpPr>
        <p:grpSpPr>
          <a:xfrm>
            <a:off x="472683" y="5263909"/>
            <a:ext cx="2367288" cy="758739"/>
            <a:chOff x="601720" y="5505956"/>
            <a:chExt cx="2367288" cy="758739"/>
          </a:xfrm>
        </p:grpSpPr>
        <p:sp>
          <p:nvSpPr>
            <p:cNvPr id="13" name="Rectangle 12">
              <a:extLst>
                <a:ext uri="{FF2B5EF4-FFF2-40B4-BE49-F238E27FC236}">
                  <a16:creationId xmlns:a16="http://schemas.microsoft.com/office/drawing/2014/main" id="{EB94548A-FF4D-48BA-A273-FD7578F89922}"/>
                </a:ext>
              </a:extLst>
            </p:cNvPr>
            <p:cNvSpPr/>
            <p:nvPr/>
          </p:nvSpPr>
          <p:spPr bwMode="auto">
            <a:xfrm>
              <a:off x="601720" y="5505956"/>
              <a:ext cx="2367288" cy="758739"/>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Visual debug history</a:t>
              </a:r>
            </a:p>
          </p:txBody>
        </p:sp>
        <p:sp>
          <p:nvSpPr>
            <p:cNvPr id="18" name="Eye">
              <a:extLst>
                <a:ext uri="{FF2B5EF4-FFF2-40B4-BE49-F238E27FC236}">
                  <a16:creationId xmlns:a16="http://schemas.microsoft.com/office/drawing/2014/main" id="{5C340077-B88F-4443-BC1D-9BF54093D4CE}"/>
                </a:ext>
              </a:extLst>
            </p:cNvPr>
            <p:cNvSpPr>
              <a:spLocks noChangeAspect="1" noEditPoints="1"/>
            </p:cNvSpPr>
            <p:nvPr/>
          </p:nvSpPr>
          <p:spPr bwMode="auto">
            <a:xfrm>
              <a:off x="807661" y="5787155"/>
              <a:ext cx="411363" cy="22712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66" name="Group 65">
            <a:extLst>
              <a:ext uri="{FF2B5EF4-FFF2-40B4-BE49-F238E27FC236}">
                <a16:creationId xmlns:a16="http://schemas.microsoft.com/office/drawing/2014/main" id="{FAF9C7C9-C907-4394-9026-C151EC9A8854}"/>
              </a:ext>
            </a:extLst>
          </p:cNvPr>
          <p:cNvGrpSpPr/>
          <p:nvPr/>
        </p:nvGrpSpPr>
        <p:grpSpPr>
          <a:xfrm>
            <a:off x="3368131" y="4885451"/>
            <a:ext cx="1346824" cy="1137197"/>
            <a:chOff x="3585591" y="4952685"/>
            <a:chExt cx="1346824" cy="1137197"/>
          </a:xfrm>
        </p:grpSpPr>
        <p:sp>
          <p:nvSpPr>
            <p:cNvPr id="36" name="Rectangle 35">
              <a:extLst>
                <a:ext uri="{FF2B5EF4-FFF2-40B4-BE49-F238E27FC236}">
                  <a16:creationId xmlns:a16="http://schemas.microsoft.com/office/drawing/2014/main" id="{9394B161-AA4B-490D-8472-387BD3EE1D67}"/>
                </a:ext>
              </a:extLst>
            </p:cNvPr>
            <p:cNvSpPr/>
            <p:nvPr/>
          </p:nvSpPr>
          <p:spPr bwMode="auto">
            <a:xfrm>
              <a:off x="3585591"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pic>
          <p:nvPicPr>
            <p:cNvPr id="41" name="Picture 2" descr="Image result for azure cosmos db icon">
              <a:hlinkClick r:id="rId4"/>
              <a:extLst>
                <a:ext uri="{FF2B5EF4-FFF2-40B4-BE49-F238E27FC236}">
                  <a16:creationId xmlns:a16="http://schemas.microsoft.com/office/drawing/2014/main" id="{72317771-4B6E-4C57-9D33-F51E0F46566A}"/>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3824828" y="5517841"/>
              <a:ext cx="813467" cy="4270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Group 66">
            <a:extLst>
              <a:ext uri="{FF2B5EF4-FFF2-40B4-BE49-F238E27FC236}">
                <a16:creationId xmlns:a16="http://schemas.microsoft.com/office/drawing/2014/main" id="{B6CC29BD-1BA0-4D60-8D53-58D4E94823F8}"/>
              </a:ext>
            </a:extLst>
          </p:cNvPr>
          <p:cNvGrpSpPr/>
          <p:nvPr/>
        </p:nvGrpSpPr>
        <p:grpSpPr>
          <a:xfrm>
            <a:off x="4814668" y="4885451"/>
            <a:ext cx="1346824" cy="1137197"/>
            <a:chOff x="5005810" y="4952685"/>
            <a:chExt cx="1346824" cy="1137197"/>
          </a:xfrm>
        </p:grpSpPr>
        <p:sp>
          <p:nvSpPr>
            <p:cNvPr id="37" name="Rectangle 36">
              <a:extLst>
                <a:ext uri="{FF2B5EF4-FFF2-40B4-BE49-F238E27FC236}">
                  <a16:creationId xmlns:a16="http://schemas.microsoft.com/office/drawing/2014/main" id="{5F199C7C-831B-4682-B664-9105C408E312}"/>
                </a:ext>
              </a:extLst>
            </p:cNvPr>
            <p:cNvSpPr/>
            <p:nvPr/>
          </p:nvSpPr>
          <p:spPr bwMode="auto">
            <a:xfrm>
              <a:off x="500581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torage</a:t>
              </a:r>
            </a:p>
          </p:txBody>
        </p:sp>
        <p:pic>
          <p:nvPicPr>
            <p:cNvPr id="42" name="Picture 41">
              <a:hlinkClick r:id="rId7"/>
              <a:extLst>
                <a:ext uri="{FF2B5EF4-FFF2-40B4-BE49-F238E27FC236}">
                  <a16:creationId xmlns:a16="http://schemas.microsoft.com/office/drawing/2014/main" id="{3973A744-D106-41F6-94A8-41977AF97882}"/>
                </a:ext>
              </a:extLst>
            </p:cNvPr>
            <p:cNvPicPr>
              <a:picLocks noChangeAspect="1"/>
            </p:cNvPicPr>
            <p:nvPr/>
          </p:nvPicPr>
          <p:blipFill>
            <a:blip r:embed="rId8" cstate="print">
              <a:biLevel thresh="25000"/>
              <a:extLst>
                <a:ext uri="{28A0092B-C50C-407E-A947-70E740481C1C}">
                  <a14:useLocalDpi xmlns:a14="http://schemas.microsoft.com/office/drawing/2010/main"/>
                </a:ext>
              </a:extLst>
            </a:blip>
            <a:stretch>
              <a:fillRect/>
            </a:stretch>
          </p:blipFill>
          <p:spPr>
            <a:xfrm>
              <a:off x="5434326" y="5517841"/>
              <a:ext cx="489792" cy="424620"/>
            </a:xfrm>
            <a:prstGeom prst="rect">
              <a:avLst/>
            </a:prstGeom>
          </p:spPr>
        </p:pic>
      </p:grpSp>
      <p:grpSp>
        <p:nvGrpSpPr>
          <p:cNvPr id="71" name="Group 70">
            <a:extLst>
              <a:ext uri="{FF2B5EF4-FFF2-40B4-BE49-F238E27FC236}">
                <a16:creationId xmlns:a16="http://schemas.microsoft.com/office/drawing/2014/main" id="{20E09794-A921-419D-9751-47176AB9C44D}"/>
              </a:ext>
            </a:extLst>
          </p:cNvPr>
          <p:cNvGrpSpPr/>
          <p:nvPr/>
        </p:nvGrpSpPr>
        <p:grpSpPr>
          <a:xfrm>
            <a:off x="7724746" y="4885451"/>
            <a:ext cx="1346824" cy="1137197"/>
            <a:chOff x="10686688" y="4952685"/>
            <a:chExt cx="1346824" cy="1137197"/>
          </a:xfrm>
        </p:grpSpPr>
        <p:sp>
          <p:nvSpPr>
            <p:cNvPr id="40" name="Rectangle 39">
              <a:extLst>
                <a:ext uri="{FF2B5EF4-FFF2-40B4-BE49-F238E27FC236}">
                  <a16:creationId xmlns:a16="http://schemas.microsoft.com/office/drawing/2014/main" id="{46FAE3BB-1EF7-4909-8479-8B84150E2772}"/>
                </a:ext>
              </a:extLst>
            </p:cNvPr>
            <p:cNvSpPr/>
            <p:nvPr/>
          </p:nvSpPr>
          <p:spPr bwMode="auto">
            <a:xfrm>
              <a:off x="10686688"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ntelligence</a:t>
              </a:r>
            </a:p>
          </p:txBody>
        </p:sp>
        <p:pic>
          <p:nvPicPr>
            <p:cNvPr id="43" name="Picture 6" descr="Related image">
              <a:hlinkClick r:id="rId9"/>
              <a:extLst>
                <a:ext uri="{FF2B5EF4-FFF2-40B4-BE49-F238E27FC236}">
                  <a16:creationId xmlns:a16="http://schemas.microsoft.com/office/drawing/2014/main" id="{E6A504A8-0CC5-4F46-9AC2-0234D61E015E}"/>
                </a:ext>
              </a:extLst>
            </p:cNvPr>
            <p:cNvPicPr>
              <a:picLocks noChangeAspect="1" noChangeArrowheads="1"/>
            </p:cNvPicPr>
            <p:nvPr/>
          </p:nvPicPr>
          <p:blipFill rotWithShape="1">
            <a:blip r:embed="rId10" cstate="print">
              <a:biLevel thresh="25000"/>
              <a:extLst>
                <a:ext uri="{28A0092B-C50C-407E-A947-70E740481C1C}">
                  <a14:useLocalDpi xmlns:a14="http://schemas.microsoft.com/office/drawing/2010/main"/>
                </a:ext>
              </a:extLst>
            </a:blip>
            <a:srcRect/>
            <a:stretch/>
          </p:blipFill>
          <p:spPr bwMode="auto">
            <a:xfrm>
              <a:off x="11077236" y="5541647"/>
              <a:ext cx="565728" cy="3894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0" name="Group 69">
            <a:extLst>
              <a:ext uri="{FF2B5EF4-FFF2-40B4-BE49-F238E27FC236}">
                <a16:creationId xmlns:a16="http://schemas.microsoft.com/office/drawing/2014/main" id="{3D8F0462-1F94-4C18-997B-8FFE5B66D129}"/>
              </a:ext>
            </a:extLst>
          </p:cNvPr>
          <p:cNvGrpSpPr/>
          <p:nvPr/>
        </p:nvGrpSpPr>
        <p:grpSpPr>
          <a:xfrm>
            <a:off x="6278209" y="4885451"/>
            <a:ext cx="1346824" cy="1137197"/>
            <a:chOff x="9266469" y="4952685"/>
            <a:chExt cx="1346824" cy="1137197"/>
          </a:xfrm>
        </p:grpSpPr>
        <p:sp>
          <p:nvSpPr>
            <p:cNvPr id="35" name="Rectangle 34">
              <a:extLst>
                <a:ext uri="{FF2B5EF4-FFF2-40B4-BE49-F238E27FC236}">
                  <a16:creationId xmlns:a16="http://schemas.microsoft.com/office/drawing/2014/main" id="{2A49B0BA-1DA2-4636-BF4D-32B276BEFED7}"/>
                </a:ext>
              </a:extLst>
            </p:cNvPr>
            <p:cNvSpPr/>
            <p:nvPr/>
          </p:nvSpPr>
          <p:spPr bwMode="auto">
            <a:xfrm>
              <a:off x="926646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pic>
          <p:nvPicPr>
            <p:cNvPr id="44" name="Picture 8" descr="Image result for azure stream analytics icon">
              <a:hlinkClick r:id="rId11"/>
              <a:extLst>
                <a:ext uri="{FF2B5EF4-FFF2-40B4-BE49-F238E27FC236}">
                  <a16:creationId xmlns:a16="http://schemas.microsoft.com/office/drawing/2014/main" id="{FC677BA8-4197-4CFA-B89F-F4229C95B74E}"/>
                </a:ext>
              </a:extLst>
            </p:cNvPr>
            <p:cNvPicPr>
              <a:picLocks noChangeAspect="1" noChangeArrowheads="1"/>
            </p:cNvPicPr>
            <p:nvPr/>
          </p:nvPicPr>
          <p:blipFill rotWithShape="1">
            <a:blip r:embed="rId12" cstate="print">
              <a:biLevel thresh="25000"/>
              <a:extLst>
                <a:ext uri="{28A0092B-C50C-407E-A947-70E740481C1C}">
                  <a14:useLocalDpi xmlns:a14="http://schemas.microsoft.com/office/drawing/2010/main"/>
                </a:ext>
              </a:extLst>
            </a:blip>
            <a:srcRect t="7228" b="7991"/>
            <a:stretch/>
          </p:blipFill>
          <p:spPr bwMode="auto">
            <a:xfrm>
              <a:off x="9666077" y="5493995"/>
              <a:ext cx="547608" cy="4642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a:extLst>
              <a:ext uri="{FF2B5EF4-FFF2-40B4-BE49-F238E27FC236}">
                <a16:creationId xmlns:a16="http://schemas.microsoft.com/office/drawing/2014/main" id="{5ECB7D50-C4A8-4230-9487-942327416754}"/>
              </a:ext>
            </a:extLst>
          </p:cNvPr>
          <p:cNvGrpSpPr/>
          <p:nvPr/>
        </p:nvGrpSpPr>
        <p:grpSpPr>
          <a:xfrm>
            <a:off x="10632451" y="4885451"/>
            <a:ext cx="1346824" cy="1137197"/>
            <a:chOff x="7846249" y="4952685"/>
            <a:chExt cx="1346824" cy="1137197"/>
          </a:xfrm>
        </p:grpSpPr>
        <p:sp>
          <p:nvSpPr>
            <p:cNvPr id="38" name="Rectangle 37">
              <a:extLst>
                <a:ext uri="{FF2B5EF4-FFF2-40B4-BE49-F238E27FC236}">
                  <a16:creationId xmlns:a16="http://schemas.microsoft.com/office/drawing/2014/main" id="{01894BD1-3485-442C-8FE7-528E265052A6}"/>
                </a:ext>
              </a:extLst>
            </p:cNvPr>
            <p:cNvSpPr/>
            <p:nvPr/>
          </p:nvSpPr>
          <p:spPr bwMode="auto">
            <a:xfrm>
              <a:off x="784624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oT</a:t>
              </a:r>
            </a:p>
          </p:txBody>
        </p:sp>
        <p:pic>
          <p:nvPicPr>
            <p:cNvPr id="45" name="Picture 10" descr="Image result for azure IoT icon">
              <a:hlinkClick r:id="rId13"/>
              <a:extLst>
                <a:ext uri="{FF2B5EF4-FFF2-40B4-BE49-F238E27FC236}">
                  <a16:creationId xmlns:a16="http://schemas.microsoft.com/office/drawing/2014/main" id="{438C95F1-36C6-44A7-B143-54721927BBDA}"/>
                </a:ext>
              </a:extLst>
            </p:cNvPr>
            <p:cNvPicPr>
              <a:picLocks noChangeAspect="1" noChangeArrowheads="1"/>
            </p:cNvPicPr>
            <p:nvPr/>
          </p:nvPicPr>
          <p:blipFill rotWithShape="1">
            <a:blip r:embed="rId14" cstate="print">
              <a:biLevel thresh="25000"/>
              <a:extLst>
                <a:ext uri="{28A0092B-C50C-407E-A947-70E740481C1C}">
                  <a14:useLocalDpi xmlns:a14="http://schemas.microsoft.com/office/drawing/2010/main"/>
                </a:ext>
              </a:extLst>
            </a:blip>
            <a:srcRect/>
            <a:stretch/>
          </p:blipFill>
          <p:spPr bwMode="auto">
            <a:xfrm>
              <a:off x="8313003" y="5523738"/>
              <a:ext cx="413316" cy="4043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8" name="Group 67">
            <a:extLst>
              <a:ext uri="{FF2B5EF4-FFF2-40B4-BE49-F238E27FC236}">
                <a16:creationId xmlns:a16="http://schemas.microsoft.com/office/drawing/2014/main" id="{996CFDEA-9096-4A76-A348-7A1C8F7B9605}"/>
              </a:ext>
            </a:extLst>
          </p:cNvPr>
          <p:cNvGrpSpPr/>
          <p:nvPr/>
        </p:nvGrpSpPr>
        <p:grpSpPr>
          <a:xfrm>
            <a:off x="9185914" y="4885451"/>
            <a:ext cx="1346824" cy="1137197"/>
            <a:chOff x="6426030" y="4952685"/>
            <a:chExt cx="1346824" cy="1137197"/>
          </a:xfrm>
        </p:grpSpPr>
        <p:sp>
          <p:nvSpPr>
            <p:cNvPr id="39" name="Rectangle 38">
              <a:extLst>
                <a:ext uri="{FF2B5EF4-FFF2-40B4-BE49-F238E27FC236}">
                  <a16:creationId xmlns:a16="http://schemas.microsoft.com/office/drawing/2014/main" id="{98B8E2F0-428C-4D19-ACED-321431CF5662}"/>
                </a:ext>
              </a:extLst>
            </p:cNvPr>
            <p:cNvSpPr/>
            <p:nvPr/>
          </p:nvSpPr>
          <p:spPr bwMode="auto">
            <a:xfrm>
              <a:off x="642603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pic>
          <p:nvPicPr>
            <p:cNvPr id="46" name="Picture 12" descr="Image result for azure active directory icon">
              <a:hlinkClick r:id="rId15"/>
              <a:extLst>
                <a:ext uri="{FF2B5EF4-FFF2-40B4-BE49-F238E27FC236}">
                  <a16:creationId xmlns:a16="http://schemas.microsoft.com/office/drawing/2014/main" id="{5E3D22DB-A577-4DC7-8CB1-DE4A52754889}"/>
                </a:ext>
              </a:extLst>
            </p:cNvPr>
            <p:cNvPicPr>
              <a:picLocks noChangeAspect="1" noChangeArrowheads="1"/>
            </p:cNvPicPr>
            <p:nvPr/>
          </p:nvPicPr>
          <p:blipFill>
            <a:blip r:embed="rId16" cstate="print">
              <a:biLevel thresh="50000"/>
              <a:extLst>
                <a:ext uri="{28A0092B-C50C-407E-A947-70E740481C1C}">
                  <a14:useLocalDpi xmlns:a14="http://schemas.microsoft.com/office/drawing/2010/main"/>
                </a:ext>
              </a:extLst>
            </a:blip>
            <a:srcRect/>
            <a:stretch>
              <a:fillRect/>
            </a:stretch>
          </p:blipFill>
          <p:spPr bwMode="auto">
            <a:xfrm>
              <a:off x="6872820" y="5505031"/>
              <a:ext cx="453241" cy="453241"/>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Rectangle 25">
            <a:extLst>
              <a:ext uri="{FF2B5EF4-FFF2-40B4-BE49-F238E27FC236}">
                <a16:creationId xmlns:a16="http://schemas.microsoft.com/office/drawing/2014/main" id="{44B50CB9-F389-4988-96F3-7A680AC36FF4}"/>
              </a:ext>
            </a:extLst>
          </p:cNvPr>
          <p:cNvSpPr/>
          <p:nvPr/>
        </p:nvSpPr>
        <p:spPr bwMode="auto">
          <a:xfrm>
            <a:off x="9185914" y="206661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1832" tIns="149175" rIns="186468" bIns="149175" numCol="1" spcCol="0" rtlCol="0" fromWordArt="0" anchor="ctr" anchorCtr="0" forceAA="0" compatLnSpc="1">
            <a:prstTxWarp prst="textNoShape">
              <a:avLst/>
            </a:prstTxWarp>
            <a:noAutofit/>
          </a:bodyPr>
          <a:lstStyle/>
          <a:p>
            <a:pPr marL="0" marR="0" lvl="0" indent="0" algn="l"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Logic Apps</a:t>
            </a:r>
          </a:p>
        </p:txBody>
      </p:sp>
      <p:sp>
        <p:nvSpPr>
          <p:cNvPr id="27" name="Rectangle 26">
            <a:extLst>
              <a:ext uri="{FF2B5EF4-FFF2-40B4-BE49-F238E27FC236}">
                <a16:creationId xmlns:a16="http://schemas.microsoft.com/office/drawing/2014/main" id="{4C74B885-E590-4BFF-871E-47BDF5E04F6E}"/>
              </a:ext>
            </a:extLst>
          </p:cNvPr>
          <p:cNvSpPr/>
          <p:nvPr/>
        </p:nvSpPr>
        <p:spPr bwMode="auto">
          <a:xfrm>
            <a:off x="9185914" y="2672112"/>
            <a:ext cx="2793361" cy="178045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marL="0" marR="0" lvl="0" indent="0" algn="ctr" defTabSz="932239" rtl="0" eaLnBrk="1" fontAlgn="auto" latinLnBrk="0" hangingPunct="1">
              <a:lnSpc>
                <a:spcPct val="90000"/>
              </a:lnSpc>
              <a:spcBef>
                <a:spcPts val="0"/>
              </a:spcBef>
              <a:spcAft>
                <a:spcPts val="600"/>
              </a:spcAft>
              <a:buClrTx/>
              <a:buSzTx/>
              <a:buFontTx/>
              <a:buNone/>
              <a:tabLst/>
              <a:defRPr/>
            </a:pPr>
            <a:r>
              <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mn-ea"/>
                <a:cs typeface="Segoe UI" panose="020B0502040204020203" pitchFamily="34" charset="0"/>
              </a:rPr>
              <a:t>Design workflows and orchestrate processes</a:t>
            </a:r>
          </a:p>
        </p:txBody>
      </p:sp>
      <p:grpSp>
        <p:nvGrpSpPr>
          <p:cNvPr id="28" name="Group 27">
            <a:extLst>
              <a:ext uri="{FF2B5EF4-FFF2-40B4-BE49-F238E27FC236}">
                <a16:creationId xmlns:a16="http://schemas.microsoft.com/office/drawing/2014/main" id="{C6D78602-2EA4-47AA-9B83-0E3BF801A738}"/>
              </a:ext>
            </a:extLst>
          </p:cNvPr>
          <p:cNvGrpSpPr/>
          <p:nvPr/>
        </p:nvGrpSpPr>
        <p:grpSpPr>
          <a:xfrm>
            <a:off x="9398621" y="2236281"/>
            <a:ext cx="499031" cy="273276"/>
            <a:chOff x="7712710" y="2866532"/>
            <a:chExt cx="900970" cy="493385"/>
          </a:xfrm>
        </p:grpSpPr>
        <p:sp>
          <p:nvSpPr>
            <p:cNvPr id="29" name="Rectangle 28">
              <a:extLst>
                <a:ext uri="{FF2B5EF4-FFF2-40B4-BE49-F238E27FC236}">
                  <a16:creationId xmlns:a16="http://schemas.microsoft.com/office/drawing/2014/main" id="{06D8050C-9579-4249-BFA9-EA5079CA4465}"/>
                </a:ext>
              </a:extLst>
            </p:cNvPr>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0D5B5B6C-BEBD-4485-A424-BCB1E9043756}"/>
                </a:ext>
              </a:extLst>
            </p:cNvPr>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2CDD8562-56AC-40EA-A24E-283670BCAEC2}"/>
                </a:ext>
              </a:extLst>
            </p:cNvPr>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Left Brace 31">
              <a:extLst>
                <a:ext uri="{FF2B5EF4-FFF2-40B4-BE49-F238E27FC236}">
                  <a16:creationId xmlns:a16="http://schemas.microsoft.com/office/drawing/2014/main" id="{581058D7-0A4D-435A-AF68-DFBB15C9FA01}"/>
                </a:ext>
              </a:extLst>
            </p:cNvPr>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 name="Left Brace 32">
              <a:extLst>
                <a:ext uri="{FF2B5EF4-FFF2-40B4-BE49-F238E27FC236}">
                  <a16:creationId xmlns:a16="http://schemas.microsoft.com/office/drawing/2014/main" id="{0BBE604B-BD6B-4782-9285-5FF0CC2A3B56}"/>
                </a:ext>
              </a:extLst>
            </p:cNvPr>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 name="Left Brace 33">
              <a:extLst>
                <a:ext uri="{FF2B5EF4-FFF2-40B4-BE49-F238E27FC236}">
                  <a16:creationId xmlns:a16="http://schemas.microsoft.com/office/drawing/2014/main" id="{084F970E-4DE1-4946-89E8-D57DC0822BE1}"/>
                </a:ext>
              </a:extLst>
            </p:cNvPr>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8" name="Rectangle 47">
            <a:extLst>
              <a:ext uri="{FF2B5EF4-FFF2-40B4-BE49-F238E27FC236}">
                <a16:creationId xmlns:a16="http://schemas.microsoft.com/office/drawing/2014/main" id="{DDAD1A25-88F9-4638-879E-16E8957D7786}"/>
              </a:ext>
            </a:extLst>
          </p:cNvPr>
          <p:cNvSpPr/>
          <p:nvPr/>
        </p:nvSpPr>
        <p:spPr bwMode="auto">
          <a:xfrm>
            <a:off x="6281955" y="207768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9175" rIns="186468" bIns="149175" numCol="1" spcCol="0" rtlCol="0" fromWordArt="0" anchor="ctr" anchorCtr="0" forceAA="0" compatLnSpc="1">
            <a:prstTxWarp prst="textNoShape">
              <a:avLst/>
            </a:prstTxWarp>
            <a:noAutofit/>
          </a:bodyPr>
          <a:lstStyle/>
          <a:p>
            <a:pPr marL="0" marR="0" lvl="0" indent="0" algn="l"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Event Grid</a:t>
            </a:r>
          </a:p>
        </p:txBody>
      </p:sp>
      <p:sp>
        <p:nvSpPr>
          <p:cNvPr id="49" name="Rectangle 48">
            <a:extLst>
              <a:ext uri="{FF2B5EF4-FFF2-40B4-BE49-F238E27FC236}">
                <a16:creationId xmlns:a16="http://schemas.microsoft.com/office/drawing/2014/main" id="{F912F917-D969-475C-8A98-F0C17FE92305}"/>
              </a:ext>
            </a:extLst>
          </p:cNvPr>
          <p:cNvSpPr/>
          <p:nvPr/>
        </p:nvSpPr>
        <p:spPr bwMode="auto">
          <a:xfrm>
            <a:off x="6281955" y="2683182"/>
            <a:ext cx="2793361" cy="178045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marL="0" marR="0" lvl="0" indent="0" algn="ctr" defTabSz="932239" rtl="0" eaLnBrk="1" fontAlgn="auto" latinLnBrk="0" hangingPunct="1">
              <a:lnSpc>
                <a:spcPct val="90000"/>
              </a:lnSpc>
              <a:spcBef>
                <a:spcPts val="0"/>
              </a:spcBef>
              <a:spcAft>
                <a:spcPts val="600"/>
              </a:spcAft>
              <a:buClrTx/>
              <a:buSzTx/>
              <a:buFontTx/>
              <a:buNone/>
              <a:tabLst/>
              <a:defRPr/>
            </a:pPr>
            <a:r>
              <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Times New Roman" panose="02020603050405020304" pitchFamily="18" charset="0"/>
                <a:cs typeface="Segoe UI" panose="020B0502040204020203" pitchFamily="34" charset="0"/>
              </a:rPr>
              <a:t>Manage all events that can trigger code or logic</a:t>
            </a:r>
            <a:endPar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Calibri" panose="020F0502020204030204" pitchFamily="34" charset="0"/>
              <a:cs typeface="Segoe UI" panose="020B0502040204020203" pitchFamily="34" charset="0"/>
            </a:endParaRPr>
          </a:p>
        </p:txBody>
      </p:sp>
      <p:pic>
        <p:nvPicPr>
          <p:cNvPr id="50" name="Picture 14" descr="Image result for azure event grid">
            <a:extLst>
              <a:ext uri="{FF2B5EF4-FFF2-40B4-BE49-F238E27FC236}">
                <a16:creationId xmlns:a16="http://schemas.microsoft.com/office/drawing/2014/main" id="{D24DB97F-BBEA-4AEE-AACE-B79A57970F02}"/>
              </a:ext>
            </a:extLst>
          </p:cNvPr>
          <p:cNvPicPr>
            <a:picLocks noChangeAspect="1" noChangeArrowheads="1"/>
          </p:cNvPicPr>
          <p:nvPr/>
        </p:nvPicPr>
        <p:blipFill>
          <a:blip r:embed="rId17" cstate="print">
            <a:biLevel thresh="25000"/>
            <a:extLst>
              <a:ext uri="{28A0092B-C50C-407E-A947-70E740481C1C}">
                <a14:useLocalDpi xmlns:a14="http://schemas.microsoft.com/office/drawing/2010/main"/>
              </a:ext>
            </a:extLst>
          </a:blip>
          <a:srcRect/>
          <a:stretch>
            <a:fillRect/>
          </a:stretch>
        </p:blipFill>
        <p:spPr bwMode="auto">
          <a:xfrm>
            <a:off x="6377396" y="2208731"/>
            <a:ext cx="656513" cy="344669"/>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2B691493-6F82-46FA-B20C-9E12AF29D2BC}"/>
              </a:ext>
            </a:extLst>
          </p:cNvPr>
          <p:cNvSpPr/>
          <p:nvPr/>
        </p:nvSpPr>
        <p:spPr bwMode="auto">
          <a:xfrm>
            <a:off x="3368131" y="207768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7240" tIns="149175" rIns="186468" bIns="149175" numCol="1" spcCol="0" rtlCol="0" fromWordArt="0" anchor="ctr" anchorCtr="0" forceAA="0" compatLnSpc="1">
            <a:prstTxWarp prst="textNoShape">
              <a:avLst/>
            </a:prstTxWarp>
            <a:noAutofit/>
          </a:bodyPr>
          <a:lstStyle/>
          <a:p>
            <a:pPr marL="0" marR="0" lvl="0" indent="0" algn="l"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Functions</a:t>
            </a:r>
          </a:p>
        </p:txBody>
      </p:sp>
      <p:sp>
        <p:nvSpPr>
          <p:cNvPr id="53" name="Rectangle 52">
            <a:extLst>
              <a:ext uri="{FF2B5EF4-FFF2-40B4-BE49-F238E27FC236}">
                <a16:creationId xmlns:a16="http://schemas.microsoft.com/office/drawing/2014/main" id="{14B58EEA-B18C-4890-A545-E250DB7649C6}"/>
              </a:ext>
            </a:extLst>
          </p:cNvPr>
          <p:cNvSpPr/>
          <p:nvPr/>
        </p:nvSpPr>
        <p:spPr bwMode="auto">
          <a:xfrm>
            <a:off x="3368131" y="2683182"/>
            <a:ext cx="2793361" cy="177158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marL="0" marR="0" lvl="0" indent="0" algn="ctr" defTabSz="932239" rtl="0" eaLnBrk="1" fontAlgn="auto" latinLnBrk="0" hangingPunct="1">
              <a:lnSpc>
                <a:spcPct val="90000"/>
              </a:lnSpc>
              <a:spcBef>
                <a:spcPts val="0"/>
              </a:spcBef>
              <a:spcAft>
                <a:spcPts val="600"/>
              </a:spcAft>
              <a:buClrTx/>
              <a:buSzTx/>
              <a:buFontTx/>
              <a:buNone/>
              <a:tabLst/>
              <a:defRPr/>
            </a:pPr>
            <a:r>
              <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mn-ea"/>
                <a:cs typeface="Segoe UI" panose="020B0502040204020203" pitchFamily="34" charset="0"/>
              </a:rPr>
              <a:t>Execute your code based on events you specify</a:t>
            </a:r>
          </a:p>
        </p:txBody>
      </p:sp>
      <p:grpSp>
        <p:nvGrpSpPr>
          <p:cNvPr id="54" name="Group 53">
            <a:extLst>
              <a:ext uri="{FF2B5EF4-FFF2-40B4-BE49-F238E27FC236}">
                <a16:creationId xmlns:a16="http://schemas.microsoft.com/office/drawing/2014/main" id="{ACCE251F-BA56-4CF0-958C-5806437B5F84}"/>
              </a:ext>
            </a:extLst>
          </p:cNvPr>
          <p:cNvGrpSpPr/>
          <p:nvPr/>
        </p:nvGrpSpPr>
        <p:grpSpPr>
          <a:xfrm>
            <a:off x="3557233" y="2219730"/>
            <a:ext cx="481362" cy="321413"/>
            <a:chOff x="6795675" y="2984792"/>
            <a:chExt cx="651897" cy="435283"/>
          </a:xfrm>
          <a:solidFill>
            <a:schemeClr val="bg1"/>
          </a:solidFill>
        </p:grpSpPr>
        <p:sp>
          <p:nvSpPr>
            <p:cNvPr id="55" name="Freeform 18">
              <a:extLst>
                <a:ext uri="{FF2B5EF4-FFF2-40B4-BE49-F238E27FC236}">
                  <a16:creationId xmlns:a16="http://schemas.microsoft.com/office/drawing/2014/main" id="{61CF71F0-A2A2-49F0-806D-4CB5307EACF1}"/>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56" name="Group 55">
              <a:extLst>
                <a:ext uri="{FF2B5EF4-FFF2-40B4-BE49-F238E27FC236}">
                  <a16:creationId xmlns:a16="http://schemas.microsoft.com/office/drawing/2014/main" id="{B44AE46B-27D1-4E39-924B-FBE93C9282E0}"/>
                </a:ext>
              </a:extLst>
            </p:cNvPr>
            <p:cNvGrpSpPr/>
            <p:nvPr/>
          </p:nvGrpSpPr>
          <p:grpSpPr>
            <a:xfrm>
              <a:off x="6795675" y="3059346"/>
              <a:ext cx="141873" cy="271583"/>
              <a:chOff x="3016688" y="2176623"/>
              <a:chExt cx="166688" cy="319087"/>
            </a:xfrm>
            <a:grpFill/>
          </p:grpSpPr>
          <p:cxnSp>
            <p:nvCxnSpPr>
              <p:cNvPr id="60" name="Straight Connector 59">
                <a:extLst>
                  <a:ext uri="{FF2B5EF4-FFF2-40B4-BE49-F238E27FC236}">
                    <a16:creationId xmlns:a16="http://schemas.microsoft.com/office/drawing/2014/main" id="{6483BB30-55A5-4D72-903B-75EEDF6AAE58}"/>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9E2460B-DC1A-4DC8-A92A-3D935AC7DE84}"/>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12D249EA-D91E-479C-B041-C3A083AAF7F8}"/>
                </a:ext>
              </a:extLst>
            </p:cNvPr>
            <p:cNvGrpSpPr/>
            <p:nvPr/>
          </p:nvGrpSpPr>
          <p:grpSpPr>
            <a:xfrm flipH="1">
              <a:off x="7305699" y="3059346"/>
              <a:ext cx="141873" cy="271583"/>
              <a:chOff x="3016688" y="2176623"/>
              <a:chExt cx="166688" cy="319087"/>
            </a:xfrm>
            <a:grpFill/>
          </p:grpSpPr>
          <p:cxnSp>
            <p:nvCxnSpPr>
              <p:cNvPr id="58" name="Straight Connector 57">
                <a:extLst>
                  <a:ext uri="{FF2B5EF4-FFF2-40B4-BE49-F238E27FC236}">
                    <a16:creationId xmlns:a16="http://schemas.microsoft.com/office/drawing/2014/main" id="{C299727D-DDA7-4272-AE4E-F9D33CB6220B}"/>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967EFDB-C9D4-4D66-988C-DC4BDFDD5138}"/>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73" name="Straight Connector 72">
            <a:extLst>
              <a:ext uri="{FF2B5EF4-FFF2-40B4-BE49-F238E27FC236}">
                <a16:creationId xmlns:a16="http://schemas.microsoft.com/office/drawing/2014/main" id="{2C2B82EA-22F2-4566-89D0-0A496B40DD4D}"/>
              </a:ext>
            </a:extLst>
          </p:cNvPr>
          <p:cNvCxnSpPr>
            <a:cxnSpLocks/>
          </p:cNvCxnSpPr>
          <p:nvPr/>
        </p:nvCxnSpPr>
        <p:spPr>
          <a:xfrm>
            <a:off x="3105415" y="2262898"/>
            <a:ext cx="0" cy="3563471"/>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D008F495-8AB4-4BDF-AFA7-9139AD939795}"/>
              </a:ext>
            </a:extLst>
          </p:cNvPr>
          <p:cNvSpPr>
            <a:spLocks noGrp="1"/>
          </p:cNvSpPr>
          <p:nvPr>
            <p:ph type="title"/>
          </p:nvPr>
        </p:nvSpPr>
        <p:spPr>
          <a:xfrm>
            <a:off x="274639" y="295276"/>
            <a:ext cx="11889564" cy="917575"/>
          </a:xfrm>
        </p:spPr>
        <p:txBody>
          <a:bodyPr/>
          <a:lstStyle/>
          <a:p>
            <a:r>
              <a:rPr lang="en-US"/>
              <a:t>Azure serverless application platform</a:t>
            </a:r>
          </a:p>
        </p:txBody>
      </p:sp>
    </p:spTree>
    <p:extLst>
      <p:ext uri="{BB962C8B-B14F-4D97-AF65-F5344CB8AC3E}">
        <p14:creationId xmlns:p14="http://schemas.microsoft.com/office/powerpoint/2010/main" val="294661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p:txBody>
          <a:bodyPr/>
          <a:lstStyle/>
          <a:p>
            <a:r>
              <a:rPr lang="en-US"/>
              <a:t>Web application backends</a:t>
            </a:r>
          </a:p>
        </p:txBody>
      </p:sp>
      <p:sp>
        <p:nvSpPr>
          <p:cNvPr id="18" name="TextBox 17">
            <a:extLst>
              <a:ext uri="{FF2B5EF4-FFF2-40B4-BE49-F238E27FC236}">
                <a16:creationId xmlns:a16="http://schemas.microsoft.com/office/drawing/2014/main" id="{D24DFBC7-73AC-7C42-B694-CD071F8271DD}"/>
              </a:ext>
            </a:extLst>
          </p:cNvPr>
          <p:cNvSpPr txBox="1"/>
          <p:nvPr/>
        </p:nvSpPr>
        <p:spPr>
          <a:xfrm>
            <a:off x="386812" y="4819115"/>
            <a:ext cx="1658256"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mn-lt"/>
                <a:ea typeface="+mn-ea"/>
                <a:cs typeface="Segoe UI Light" panose="020B0502040204020203" pitchFamily="34" charset="0"/>
              </a:rPr>
              <a:t>Request made </a:t>
            </a:r>
            <a:br>
              <a:rPr kumimoji="0" lang="en-US" b="0" i="0" u="none" strike="noStrike" kern="1200" cap="none" spc="0" normalizeH="0" baseline="0" noProof="0">
                <a:ln>
                  <a:noFill/>
                </a:ln>
                <a:effectLst/>
                <a:uLnTx/>
                <a:uFillTx/>
                <a:latin typeface="+mn-lt"/>
                <a:ea typeface="+mn-ea"/>
                <a:cs typeface="Segoe UI Light" panose="020B0502040204020203" pitchFamily="34" charset="0"/>
              </a:rPr>
            </a:br>
            <a:r>
              <a:rPr kumimoji="0" lang="en-US" b="0" i="0" u="none" strike="noStrike" kern="1200" cap="none" spc="0" normalizeH="0" baseline="0" noProof="0">
                <a:ln>
                  <a:noFill/>
                </a:ln>
                <a:effectLst/>
                <a:uLnTx/>
                <a:uFillTx/>
                <a:latin typeface="+mn-lt"/>
                <a:ea typeface="+mn-ea"/>
                <a:cs typeface="Segoe UI Light" panose="020B0502040204020203" pitchFamily="34" charset="0"/>
              </a:rPr>
              <a:t>in a web app</a:t>
            </a:r>
          </a:p>
        </p:txBody>
      </p:sp>
      <p:sp>
        <p:nvSpPr>
          <p:cNvPr id="19" name="TextBox 18">
            <a:extLst>
              <a:ext uri="{FF2B5EF4-FFF2-40B4-BE49-F238E27FC236}">
                <a16:creationId xmlns:a16="http://schemas.microsoft.com/office/drawing/2014/main" id="{DB3BC40B-4F2A-8F41-B747-8DAA03D96EBA}"/>
              </a:ext>
            </a:extLst>
          </p:cNvPr>
          <p:cNvSpPr txBox="1"/>
          <p:nvPr/>
        </p:nvSpPr>
        <p:spPr>
          <a:xfrm>
            <a:off x="3060788" y="4819115"/>
            <a:ext cx="1626203"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mn-lt"/>
                <a:ea typeface="+mn-ea"/>
                <a:cs typeface="Segoe UI Light" panose="020B0502040204020203" pitchFamily="34" charset="0"/>
              </a:rPr>
              <a:t>Request queued in Service Bus</a:t>
            </a:r>
          </a:p>
        </p:txBody>
      </p:sp>
      <p:sp>
        <p:nvSpPr>
          <p:cNvPr id="20" name="TextBox 19">
            <a:extLst>
              <a:ext uri="{FF2B5EF4-FFF2-40B4-BE49-F238E27FC236}">
                <a16:creationId xmlns:a16="http://schemas.microsoft.com/office/drawing/2014/main" id="{D970D7BF-468D-9843-AF87-9D51A7BC5C27}"/>
              </a:ext>
            </a:extLst>
          </p:cNvPr>
          <p:cNvSpPr txBox="1"/>
          <p:nvPr/>
        </p:nvSpPr>
        <p:spPr>
          <a:xfrm>
            <a:off x="5413454" y="4819115"/>
            <a:ext cx="2198603"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mn-lt"/>
                <a:ea typeface="+mn-ea"/>
                <a:cs typeface="Segoe UI Light" panose="020B0502040204020203" pitchFamily="34" charset="0"/>
              </a:rPr>
              <a:t>A function processes the request…</a:t>
            </a:r>
          </a:p>
        </p:txBody>
      </p:sp>
      <p:sp>
        <p:nvSpPr>
          <p:cNvPr id="21" name="TextBox 20">
            <a:extLst>
              <a:ext uri="{FF2B5EF4-FFF2-40B4-BE49-F238E27FC236}">
                <a16:creationId xmlns:a16="http://schemas.microsoft.com/office/drawing/2014/main" id="{AADD7C36-F707-E14B-A577-D2F90634C7FB}"/>
              </a:ext>
            </a:extLst>
          </p:cNvPr>
          <p:cNvSpPr txBox="1"/>
          <p:nvPr/>
        </p:nvSpPr>
        <p:spPr>
          <a:xfrm>
            <a:off x="7958969" y="4840530"/>
            <a:ext cx="2140688"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57200">
              <a:defRPr/>
            </a:pPr>
            <a:r>
              <a:rPr lang="en-US">
                <a:latin typeface="+mn-lt"/>
              </a:rPr>
              <a:t>..sends output to Cosmos DB</a:t>
            </a:r>
          </a:p>
        </p:txBody>
      </p:sp>
      <p:grpSp>
        <p:nvGrpSpPr>
          <p:cNvPr id="22" name="Group 21">
            <a:extLst>
              <a:ext uri="{FF2B5EF4-FFF2-40B4-BE49-F238E27FC236}">
                <a16:creationId xmlns:a16="http://schemas.microsoft.com/office/drawing/2014/main" id="{C7110B81-3060-E94D-BD83-87CEA2747939}"/>
              </a:ext>
            </a:extLst>
          </p:cNvPr>
          <p:cNvGrpSpPr/>
          <p:nvPr/>
        </p:nvGrpSpPr>
        <p:grpSpPr>
          <a:xfrm>
            <a:off x="546487" y="3594240"/>
            <a:ext cx="1498582" cy="889741"/>
            <a:chOff x="318954" y="2859206"/>
            <a:chExt cx="2664823" cy="1582165"/>
          </a:xfrm>
        </p:grpSpPr>
        <p:sp>
          <p:nvSpPr>
            <p:cNvPr id="23" name="Freeform: Shape 248">
              <a:extLst>
                <a:ext uri="{FF2B5EF4-FFF2-40B4-BE49-F238E27FC236}">
                  <a16:creationId xmlns:a16="http://schemas.microsoft.com/office/drawing/2014/main" id="{F7AFAEA9-ABD3-7445-BC34-C1366FC8CBDC}"/>
                </a:ext>
              </a:extLst>
            </p:cNvPr>
            <p:cNvSpPr/>
            <p:nvPr/>
          </p:nvSpPr>
          <p:spPr>
            <a:xfrm>
              <a:off x="549309" y="2859206"/>
              <a:ext cx="2204113" cy="1320421"/>
            </a:xfrm>
            <a:custGeom>
              <a:avLst/>
              <a:gdLst>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327546 h 1320421"/>
                <a:gd name="connsiteX4" fmla="*/ 2006611 w 2204113"/>
                <a:gd name="connsiteY4" fmla="*/ 992875 h 1320421"/>
                <a:gd name="connsiteX5" fmla="*/ 2204113 w 2204113"/>
                <a:gd name="connsiteY5" fmla="*/ 992875 h 1320421"/>
                <a:gd name="connsiteX6" fmla="*/ 2204113 w 2204113"/>
                <a:gd name="connsiteY6" fmla="*/ 1320421 h 1320421"/>
                <a:gd name="connsiteX7" fmla="*/ 0 w 2204113"/>
                <a:gd name="connsiteY7" fmla="*/ 1320421 h 1320421"/>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992875 h 1320421"/>
                <a:gd name="connsiteX4" fmla="*/ 2204113 w 2204113"/>
                <a:gd name="connsiteY4" fmla="*/ 992875 h 1320421"/>
                <a:gd name="connsiteX5" fmla="*/ 2204113 w 2204113"/>
                <a:gd name="connsiteY5" fmla="*/ 1320421 h 1320421"/>
                <a:gd name="connsiteX6" fmla="*/ 0 w 2204113"/>
                <a:gd name="connsiteY6" fmla="*/ 1320421 h 1320421"/>
                <a:gd name="connsiteX7" fmla="*/ 0 w 2204113"/>
                <a:gd name="connsiteY7" fmla="*/ 0 h 1320421"/>
                <a:gd name="connsiteX0" fmla="*/ 0 w 2204113"/>
                <a:gd name="connsiteY0" fmla="*/ 0 h 1320421"/>
                <a:gd name="connsiteX1" fmla="*/ 2204113 w 2204113"/>
                <a:gd name="connsiteY1" fmla="*/ 0 h 1320421"/>
                <a:gd name="connsiteX2" fmla="*/ 2204113 w 2204113"/>
                <a:gd name="connsiteY2" fmla="*/ 327546 h 1320421"/>
                <a:gd name="connsiteX3" fmla="*/ 2204113 w 2204113"/>
                <a:gd name="connsiteY3" fmla="*/ 992875 h 1320421"/>
                <a:gd name="connsiteX4" fmla="*/ 2204113 w 2204113"/>
                <a:gd name="connsiteY4" fmla="*/ 1320421 h 1320421"/>
                <a:gd name="connsiteX5" fmla="*/ 0 w 2204113"/>
                <a:gd name="connsiteY5" fmla="*/ 1320421 h 1320421"/>
                <a:gd name="connsiteX6" fmla="*/ 0 w 2204113"/>
                <a:gd name="connsiteY6" fmla="*/ 0 h 1320421"/>
                <a:gd name="connsiteX0" fmla="*/ 2204113 w 2295553"/>
                <a:gd name="connsiteY0" fmla="*/ 992875 h 1320421"/>
                <a:gd name="connsiteX1" fmla="*/ 2204113 w 2295553"/>
                <a:gd name="connsiteY1" fmla="*/ 1320421 h 1320421"/>
                <a:gd name="connsiteX2" fmla="*/ 0 w 2295553"/>
                <a:gd name="connsiteY2" fmla="*/ 1320421 h 1320421"/>
                <a:gd name="connsiteX3" fmla="*/ 0 w 2295553"/>
                <a:gd name="connsiteY3" fmla="*/ 0 h 1320421"/>
                <a:gd name="connsiteX4" fmla="*/ 2204113 w 2295553"/>
                <a:gd name="connsiteY4" fmla="*/ 0 h 1320421"/>
                <a:gd name="connsiteX5" fmla="*/ 2295553 w 229555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 name="connsiteX0" fmla="*/ 2204113 w 2247162"/>
                <a:gd name="connsiteY0" fmla="*/ 992875 h 1320421"/>
                <a:gd name="connsiteX1" fmla="*/ 2204113 w 2247162"/>
                <a:gd name="connsiteY1" fmla="*/ 1320421 h 1320421"/>
                <a:gd name="connsiteX2" fmla="*/ 0 w 2247162"/>
                <a:gd name="connsiteY2" fmla="*/ 1320421 h 1320421"/>
                <a:gd name="connsiteX3" fmla="*/ 0 w 2247162"/>
                <a:gd name="connsiteY3" fmla="*/ 0 h 1320421"/>
                <a:gd name="connsiteX4" fmla="*/ 2204113 w 2247162"/>
                <a:gd name="connsiteY4" fmla="*/ 0 h 1320421"/>
                <a:gd name="connsiteX5" fmla="*/ 2247162 w 2247162"/>
                <a:gd name="connsiteY5" fmla="*/ 315620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4113" h="1320421">
                  <a:moveTo>
                    <a:pt x="2204113" y="992875"/>
                  </a:moveTo>
                  <a:lnTo>
                    <a:pt x="2204113" y="1320421"/>
                  </a:lnTo>
                  <a:lnTo>
                    <a:pt x="0" y="1320421"/>
                  </a:lnTo>
                  <a:lnTo>
                    <a:pt x="0" y="0"/>
                  </a:lnTo>
                  <a:lnTo>
                    <a:pt x="2204113" y="0"/>
                  </a:lnTo>
                  <a:cubicBezTo>
                    <a:pt x="2204113" y="109182"/>
                    <a:pt x="2203430" y="319595"/>
                    <a:pt x="2203430" y="319595"/>
                  </a:cubicBez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Connector 23">
              <a:extLst>
                <a:ext uri="{FF2B5EF4-FFF2-40B4-BE49-F238E27FC236}">
                  <a16:creationId xmlns:a16="http://schemas.microsoft.com/office/drawing/2014/main" id="{B85F5091-FCD3-C247-AED4-664C436BBB10}"/>
                </a:ext>
              </a:extLst>
            </p:cNvPr>
            <p:cNvCxnSpPr/>
            <p:nvPr/>
          </p:nvCxnSpPr>
          <p:spPr>
            <a:xfrm>
              <a:off x="318954" y="4441371"/>
              <a:ext cx="2664823" cy="0"/>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cxnSp>
        <p:nvCxnSpPr>
          <p:cNvPr id="27" name="Straight Arrow Connector 26">
            <a:extLst>
              <a:ext uri="{FF2B5EF4-FFF2-40B4-BE49-F238E27FC236}">
                <a16:creationId xmlns:a16="http://schemas.microsoft.com/office/drawing/2014/main" id="{3A61EC98-0D9D-D943-8340-61A1D62D738B}"/>
              </a:ext>
            </a:extLst>
          </p:cNvPr>
          <p:cNvCxnSpPr>
            <a:cxnSpLocks/>
          </p:cNvCxnSpPr>
          <p:nvPr/>
        </p:nvCxnSpPr>
        <p:spPr>
          <a:xfrm>
            <a:off x="1802952" y="3982529"/>
            <a:ext cx="1339428" cy="0"/>
          </a:xfrm>
          <a:prstGeom prst="straightConnector1">
            <a:avLst/>
          </a:prstGeom>
          <a:ln w="19050">
            <a:solidFill>
              <a:srgbClr val="A8A9AD"/>
            </a:solidFill>
            <a:roun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C832FA00-C9C8-8A43-9304-C5DDD8F418CA}"/>
              </a:ext>
            </a:extLst>
          </p:cNvPr>
          <p:cNvGrpSpPr/>
          <p:nvPr/>
        </p:nvGrpSpPr>
        <p:grpSpPr>
          <a:xfrm>
            <a:off x="1082122" y="3789778"/>
            <a:ext cx="427309" cy="355308"/>
            <a:chOff x="1801603" y="944063"/>
            <a:chExt cx="1288426" cy="1071326"/>
          </a:xfrm>
          <a:solidFill>
            <a:srgbClr val="004D8A"/>
          </a:solidFill>
        </p:grpSpPr>
        <p:sp>
          <p:nvSpPr>
            <p:cNvPr id="29" name="Freeform: Shape 246">
              <a:extLst>
                <a:ext uri="{FF2B5EF4-FFF2-40B4-BE49-F238E27FC236}">
                  <a16:creationId xmlns:a16="http://schemas.microsoft.com/office/drawing/2014/main" id="{7A8BD8D2-FAC6-E841-9C21-EAE1088F8B05}"/>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Shape 247">
              <a:extLst>
                <a:ext uri="{FF2B5EF4-FFF2-40B4-BE49-F238E27FC236}">
                  <a16:creationId xmlns:a16="http://schemas.microsoft.com/office/drawing/2014/main" id="{44D06240-2B59-CA4A-9EBF-8620EB0A6E96}"/>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 name="Left Bracket 30">
            <a:extLst>
              <a:ext uri="{FF2B5EF4-FFF2-40B4-BE49-F238E27FC236}">
                <a16:creationId xmlns:a16="http://schemas.microsoft.com/office/drawing/2014/main" id="{2CE25914-ACCE-0745-9689-C26DEF61E066}"/>
              </a:ext>
            </a:extLst>
          </p:cNvPr>
          <p:cNvSpPr/>
          <p:nvPr/>
        </p:nvSpPr>
        <p:spPr>
          <a:xfrm rot="5400000">
            <a:off x="3783679" y="3032421"/>
            <a:ext cx="148167" cy="1284113"/>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Left Bracket 31">
            <a:extLst>
              <a:ext uri="{FF2B5EF4-FFF2-40B4-BE49-F238E27FC236}">
                <a16:creationId xmlns:a16="http://schemas.microsoft.com/office/drawing/2014/main" id="{7A64ED63-29B5-9B48-8A7E-AC1C097F4B69}"/>
              </a:ext>
            </a:extLst>
          </p:cNvPr>
          <p:cNvSpPr/>
          <p:nvPr/>
        </p:nvSpPr>
        <p:spPr>
          <a:xfrm rot="16200000">
            <a:off x="3783680" y="3785052"/>
            <a:ext cx="148167" cy="1284115"/>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3" name="Group 32">
            <a:extLst>
              <a:ext uri="{FF2B5EF4-FFF2-40B4-BE49-F238E27FC236}">
                <a16:creationId xmlns:a16="http://schemas.microsoft.com/office/drawing/2014/main" id="{23C9BDDD-77C1-F74B-B076-D93817B18DC9}"/>
              </a:ext>
            </a:extLst>
          </p:cNvPr>
          <p:cNvGrpSpPr/>
          <p:nvPr/>
        </p:nvGrpSpPr>
        <p:grpSpPr>
          <a:xfrm flipH="1">
            <a:off x="3270549" y="3924354"/>
            <a:ext cx="358053" cy="297722"/>
            <a:chOff x="1801603" y="944063"/>
            <a:chExt cx="1288426" cy="1071326"/>
          </a:xfrm>
          <a:solidFill>
            <a:srgbClr val="A8A9AD"/>
          </a:solidFill>
        </p:grpSpPr>
        <p:sp>
          <p:nvSpPr>
            <p:cNvPr id="34" name="Freeform: Shape 244">
              <a:extLst>
                <a:ext uri="{FF2B5EF4-FFF2-40B4-BE49-F238E27FC236}">
                  <a16:creationId xmlns:a16="http://schemas.microsoft.com/office/drawing/2014/main" id="{523C6F8D-ACF7-7E4F-92CC-AC249D5B6B82}"/>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Shape 245">
              <a:extLst>
                <a:ext uri="{FF2B5EF4-FFF2-40B4-BE49-F238E27FC236}">
                  <a16:creationId xmlns:a16="http://schemas.microsoft.com/office/drawing/2014/main" id="{CCCC2C9C-5DAD-894D-A2E1-ED81A11CD442}"/>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roup 35">
            <a:extLst>
              <a:ext uri="{FF2B5EF4-FFF2-40B4-BE49-F238E27FC236}">
                <a16:creationId xmlns:a16="http://schemas.microsoft.com/office/drawing/2014/main" id="{9E72F9EA-F885-E342-98B9-119602F9F4E0}"/>
              </a:ext>
            </a:extLst>
          </p:cNvPr>
          <p:cNvGrpSpPr/>
          <p:nvPr/>
        </p:nvGrpSpPr>
        <p:grpSpPr>
          <a:xfrm flipH="1">
            <a:off x="3676821" y="3924354"/>
            <a:ext cx="358053" cy="297722"/>
            <a:chOff x="1801603" y="944063"/>
            <a:chExt cx="1288426" cy="1071326"/>
          </a:xfrm>
          <a:solidFill>
            <a:srgbClr val="A8A9AD"/>
          </a:solidFill>
        </p:grpSpPr>
        <p:sp>
          <p:nvSpPr>
            <p:cNvPr id="37" name="Freeform: Shape 242">
              <a:extLst>
                <a:ext uri="{FF2B5EF4-FFF2-40B4-BE49-F238E27FC236}">
                  <a16:creationId xmlns:a16="http://schemas.microsoft.com/office/drawing/2014/main" id="{CDB0A877-9CBA-7446-AA6A-7AA135F18DCB}"/>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243">
              <a:extLst>
                <a:ext uri="{FF2B5EF4-FFF2-40B4-BE49-F238E27FC236}">
                  <a16:creationId xmlns:a16="http://schemas.microsoft.com/office/drawing/2014/main" id="{159044F2-9AA3-6842-9894-37B41772F723}"/>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9" name="Group 38">
            <a:extLst>
              <a:ext uri="{FF2B5EF4-FFF2-40B4-BE49-F238E27FC236}">
                <a16:creationId xmlns:a16="http://schemas.microsoft.com/office/drawing/2014/main" id="{9DA3A18B-D4E4-B343-8BD5-C4674E7D5FAB}"/>
              </a:ext>
            </a:extLst>
          </p:cNvPr>
          <p:cNvGrpSpPr/>
          <p:nvPr/>
        </p:nvGrpSpPr>
        <p:grpSpPr>
          <a:xfrm flipH="1">
            <a:off x="4090129" y="3844828"/>
            <a:ext cx="360420" cy="382950"/>
            <a:chOff x="1801604" y="637371"/>
            <a:chExt cx="1296945" cy="1378018"/>
          </a:xfrm>
          <a:solidFill>
            <a:srgbClr val="004D8A"/>
          </a:solidFill>
        </p:grpSpPr>
        <p:sp>
          <p:nvSpPr>
            <p:cNvPr id="40" name="Freeform: Shape 240">
              <a:extLst>
                <a:ext uri="{FF2B5EF4-FFF2-40B4-BE49-F238E27FC236}">
                  <a16:creationId xmlns:a16="http://schemas.microsoft.com/office/drawing/2014/main" id="{7B0770F6-C27E-144A-871C-1B0C0610D708}"/>
                </a:ext>
              </a:extLst>
            </p:cNvPr>
            <p:cNvSpPr/>
            <p:nvPr/>
          </p:nvSpPr>
          <p:spPr>
            <a:xfrm>
              <a:off x="1801604" y="1024293"/>
              <a:ext cx="1288426" cy="991096"/>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Shape 241">
              <a:extLst>
                <a:ext uri="{FF2B5EF4-FFF2-40B4-BE49-F238E27FC236}">
                  <a16:creationId xmlns:a16="http://schemas.microsoft.com/office/drawing/2014/main" id="{5795458B-26F5-6A4B-9B6D-576DFF1CAE80}"/>
                </a:ext>
              </a:extLst>
            </p:cNvPr>
            <p:cNvSpPr/>
            <p:nvPr/>
          </p:nvSpPr>
          <p:spPr>
            <a:xfrm rot="10800000">
              <a:off x="1810123" y="637371"/>
              <a:ext cx="1288426" cy="743324"/>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Rectangle: Rounded Corners 183">
            <a:extLst>
              <a:ext uri="{FF2B5EF4-FFF2-40B4-BE49-F238E27FC236}">
                <a16:creationId xmlns:a16="http://schemas.microsoft.com/office/drawing/2014/main" id="{EF2BC1E2-D22B-9945-AC62-1D4713C8A9B3}"/>
              </a:ext>
            </a:extLst>
          </p:cNvPr>
          <p:cNvSpPr/>
          <p:nvPr/>
        </p:nvSpPr>
        <p:spPr>
          <a:xfrm>
            <a:off x="6074175" y="3618212"/>
            <a:ext cx="804411" cy="804411"/>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3" name="Group 42">
            <a:extLst>
              <a:ext uri="{FF2B5EF4-FFF2-40B4-BE49-F238E27FC236}">
                <a16:creationId xmlns:a16="http://schemas.microsoft.com/office/drawing/2014/main" id="{A5689B0D-16C9-7D4B-AED2-48085D7A9694}"/>
              </a:ext>
            </a:extLst>
          </p:cNvPr>
          <p:cNvGrpSpPr/>
          <p:nvPr/>
        </p:nvGrpSpPr>
        <p:grpSpPr>
          <a:xfrm>
            <a:off x="6294109" y="3864613"/>
            <a:ext cx="376547" cy="308941"/>
            <a:chOff x="8117674" y="4933679"/>
            <a:chExt cx="513639" cy="421419"/>
          </a:xfrm>
        </p:grpSpPr>
        <p:grpSp>
          <p:nvGrpSpPr>
            <p:cNvPr id="44" name="Group 43">
              <a:extLst>
                <a:ext uri="{FF2B5EF4-FFF2-40B4-BE49-F238E27FC236}">
                  <a16:creationId xmlns:a16="http://schemas.microsoft.com/office/drawing/2014/main" id="{7B7162B9-7BC8-C843-BA9F-9930D3917F51}"/>
                </a:ext>
              </a:extLst>
            </p:cNvPr>
            <p:cNvGrpSpPr/>
            <p:nvPr/>
          </p:nvGrpSpPr>
          <p:grpSpPr>
            <a:xfrm>
              <a:off x="8283054" y="4933679"/>
              <a:ext cx="182880" cy="182880"/>
              <a:chOff x="6614096" y="3386015"/>
              <a:chExt cx="182880" cy="182880"/>
            </a:xfrm>
          </p:grpSpPr>
          <p:sp>
            <p:nvSpPr>
              <p:cNvPr id="51" name="Oval 50">
                <a:extLst>
                  <a:ext uri="{FF2B5EF4-FFF2-40B4-BE49-F238E27FC236}">
                    <a16:creationId xmlns:a16="http://schemas.microsoft.com/office/drawing/2014/main" id="{A6AA2E68-FD96-A84A-BCE0-90E929B49B4D}"/>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0FE37EDB-D593-2C4B-9335-99B7E5F66BDA}"/>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5" name="Group 44">
              <a:extLst>
                <a:ext uri="{FF2B5EF4-FFF2-40B4-BE49-F238E27FC236}">
                  <a16:creationId xmlns:a16="http://schemas.microsoft.com/office/drawing/2014/main" id="{F9A21D31-0421-C74B-9E3C-453AAE980226}"/>
                </a:ext>
              </a:extLst>
            </p:cNvPr>
            <p:cNvGrpSpPr/>
            <p:nvPr/>
          </p:nvGrpSpPr>
          <p:grpSpPr>
            <a:xfrm>
              <a:off x="8117674" y="5172218"/>
              <a:ext cx="182880" cy="182880"/>
              <a:chOff x="6614096" y="3386015"/>
              <a:chExt cx="182880" cy="182880"/>
            </a:xfrm>
          </p:grpSpPr>
          <p:sp>
            <p:nvSpPr>
              <p:cNvPr id="49" name="Oval 48">
                <a:extLst>
                  <a:ext uri="{FF2B5EF4-FFF2-40B4-BE49-F238E27FC236}">
                    <a16:creationId xmlns:a16="http://schemas.microsoft.com/office/drawing/2014/main" id="{A4473180-25D5-6941-AD9D-F063D08CBF78}"/>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a:extLst>
                  <a:ext uri="{FF2B5EF4-FFF2-40B4-BE49-F238E27FC236}">
                    <a16:creationId xmlns:a16="http://schemas.microsoft.com/office/drawing/2014/main" id="{D0CFDFA2-81FC-8241-B3DE-A6D4B205EBD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D5D5BE69-ECB9-1343-ABF5-B6DAE3043187}"/>
                </a:ext>
              </a:extLst>
            </p:cNvPr>
            <p:cNvGrpSpPr/>
            <p:nvPr/>
          </p:nvGrpSpPr>
          <p:grpSpPr>
            <a:xfrm>
              <a:off x="8448433" y="5172218"/>
              <a:ext cx="182880" cy="182880"/>
              <a:chOff x="6614096" y="3386015"/>
              <a:chExt cx="182880" cy="182880"/>
            </a:xfrm>
          </p:grpSpPr>
          <p:sp>
            <p:nvSpPr>
              <p:cNvPr id="47" name="Oval 46">
                <a:extLst>
                  <a:ext uri="{FF2B5EF4-FFF2-40B4-BE49-F238E27FC236}">
                    <a16:creationId xmlns:a16="http://schemas.microsoft.com/office/drawing/2014/main" id="{4587F528-0466-174D-906E-CD33295E8D2E}"/>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81BA6912-8BDE-9543-8E0F-206BA3F8A4C3}"/>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67" name="Flowchart: Magnetic Disk 201">
            <a:extLst>
              <a:ext uri="{FF2B5EF4-FFF2-40B4-BE49-F238E27FC236}">
                <a16:creationId xmlns:a16="http://schemas.microsoft.com/office/drawing/2014/main" id="{46E226AA-7088-EF47-9EDE-13BE5F466974}"/>
              </a:ext>
            </a:extLst>
          </p:cNvPr>
          <p:cNvSpPr/>
          <p:nvPr/>
        </p:nvSpPr>
        <p:spPr>
          <a:xfrm>
            <a:off x="8635968" y="3566870"/>
            <a:ext cx="613341" cy="884234"/>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8" name="Group 67">
            <a:extLst>
              <a:ext uri="{FF2B5EF4-FFF2-40B4-BE49-F238E27FC236}">
                <a16:creationId xmlns:a16="http://schemas.microsoft.com/office/drawing/2014/main" id="{FA2FB4FA-A22F-5942-81DF-7F4462A7A110}"/>
              </a:ext>
            </a:extLst>
          </p:cNvPr>
          <p:cNvGrpSpPr/>
          <p:nvPr/>
        </p:nvGrpSpPr>
        <p:grpSpPr>
          <a:xfrm>
            <a:off x="8435475" y="3864613"/>
            <a:ext cx="346406" cy="346406"/>
            <a:chOff x="7707356" y="2054306"/>
            <a:chExt cx="438912" cy="438912"/>
          </a:xfrm>
        </p:grpSpPr>
        <p:sp>
          <p:nvSpPr>
            <p:cNvPr id="69" name="Rectangle 68">
              <a:extLst>
                <a:ext uri="{FF2B5EF4-FFF2-40B4-BE49-F238E27FC236}">
                  <a16:creationId xmlns:a16="http://schemas.microsoft.com/office/drawing/2014/main" id="{66B6808D-D7EC-C342-A487-89300439AC28}"/>
                </a:ext>
              </a:extLst>
            </p:cNvPr>
            <p:cNvSpPr/>
            <p:nvPr/>
          </p:nvSpPr>
          <p:spPr>
            <a:xfrm>
              <a:off x="7707356" y="2054306"/>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0" name="Graphic 127">
              <a:extLst>
                <a:ext uri="{FF2B5EF4-FFF2-40B4-BE49-F238E27FC236}">
                  <a16:creationId xmlns:a16="http://schemas.microsoft.com/office/drawing/2014/main" id="{7CA2B011-2FCE-2D49-AE3A-4BC72F18707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43932" y="2090882"/>
              <a:ext cx="365760" cy="365760"/>
            </a:xfrm>
            <a:prstGeom prst="rect">
              <a:avLst/>
            </a:prstGeom>
          </p:spPr>
        </p:pic>
      </p:grpSp>
      <p:sp>
        <p:nvSpPr>
          <p:cNvPr id="72" name="Arc 71">
            <a:extLst>
              <a:ext uri="{FF2B5EF4-FFF2-40B4-BE49-F238E27FC236}">
                <a16:creationId xmlns:a16="http://schemas.microsoft.com/office/drawing/2014/main" id="{24DD558B-0EF3-9B4F-B545-C0E4460AC9AD}"/>
              </a:ext>
            </a:extLst>
          </p:cNvPr>
          <p:cNvSpPr/>
          <p:nvPr/>
        </p:nvSpPr>
        <p:spPr>
          <a:xfrm>
            <a:off x="6672763" y="2597764"/>
            <a:ext cx="2189247" cy="1768733"/>
          </a:xfrm>
          <a:prstGeom prst="arc">
            <a:avLst>
              <a:gd name="adj1" fmla="val 10506091"/>
              <a:gd name="adj2" fmla="val 16333"/>
            </a:avLst>
          </a:prstGeom>
          <a:ln w="3175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3" name="Group 72">
            <a:extLst>
              <a:ext uri="{FF2B5EF4-FFF2-40B4-BE49-F238E27FC236}">
                <a16:creationId xmlns:a16="http://schemas.microsoft.com/office/drawing/2014/main" id="{F9FB4E7B-21EF-E645-8468-B38585C7206A}"/>
              </a:ext>
            </a:extLst>
          </p:cNvPr>
          <p:cNvGrpSpPr/>
          <p:nvPr/>
        </p:nvGrpSpPr>
        <p:grpSpPr>
          <a:xfrm>
            <a:off x="6760329" y="2853496"/>
            <a:ext cx="236514" cy="236514"/>
            <a:chOff x="9846375" y="2765765"/>
            <a:chExt cx="274320" cy="274320"/>
          </a:xfrm>
        </p:grpSpPr>
        <p:sp>
          <p:nvSpPr>
            <p:cNvPr id="74" name="Oval 73">
              <a:extLst>
                <a:ext uri="{FF2B5EF4-FFF2-40B4-BE49-F238E27FC236}">
                  <a16:creationId xmlns:a16="http://schemas.microsoft.com/office/drawing/2014/main" id="{133E5365-8485-CF4F-9548-511D16E388E5}"/>
                </a:ext>
              </a:extLst>
            </p:cNvPr>
            <p:cNvSpPr/>
            <p:nvPr/>
          </p:nvSpPr>
          <p:spPr>
            <a:xfrm>
              <a:off x="9846375" y="276576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a:extLst>
                <a:ext uri="{FF2B5EF4-FFF2-40B4-BE49-F238E27FC236}">
                  <a16:creationId xmlns:a16="http://schemas.microsoft.com/office/drawing/2014/main" id="{33E9F24C-1B06-1F47-A4BB-3B08A484D1AD}"/>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6" name="Group 75">
            <a:extLst>
              <a:ext uri="{FF2B5EF4-FFF2-40B4-BE49-F238E27FC236}">
                <a16:creationId xmlns:a16="http://schemas.microsoft.com/office/drawing/2014/main" id="{2AC21FF7-0B7E-0D4C-B5B6-165C29A38817}"/>
              </a:ext>
            </a:extLst>
          </p:cNvPr>
          <p:cNvGrpSpPr/>
          <p:nvPr/>
        </p:nvGrpSpPr>
        <p:grpSpPr>
          <a:xfrm>
            <a:off x="7612057" y="2431378"/>
            <a:ext cx="236514" cy="236514"/>
            <a:chOff x="10087952" y="2591725"/>
            <a:chExt cx="274320" cy="274320"/>
          </a:xfrm>
        </p:grpSpPr>
        <p:sp>
          <p:nvSpPr>
            <p:cNvPr id="77" name="Oval 76">
              <a:extLst>
                <a:ext uri="{FF2B5EF4-FFF2-40B4-BE49-F238E27FC236}">
                  <a16:creationId xmlns:a16="http://schemas.microsoft.com/office/drawing/2014/main" id="{D28246A4-8CD3-BD49-889D-0C8FF587988A}"/>
                </a:ext>
              </a:extLst>
            </p:cNvPr>
            <p:cNvSpPr/>
            <p:nvPr/>
          </p:nvSpPr>
          <p:spPr>
            <a:xfrm>
              <a:off x="10087952" y="259172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Oval 77">
              <a:extLst>
                <a:ext uri="{FF2B5EF4-FFF2-40B4-BE49-F238E27FC236}">
                  <a16:creationId xmlns:a16="http://schemas.microsoft.com/office/drawing/2014/main" id="{A078A207-4E82-0C49-B342-E72AB0DD9CA2}"/>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9" name="Group 78">
            <a:extLst>
              <a:ext uri="{FF2B5EF4-FFF2-40B4-BE49-F238E27FC236}">
                <a16:creationId xmlns:a16="http://schemas.microsoft.com/office/drawing/2014/main" id="{ABB2581B-294D-9B4E-B65C-82264C3E98F0}"/>
              </a:ext>
            </a:extLst>
          </p:cNvPr>
          <p:cNvGrpSpPr/>
          <p:nvPr/>
        </p:nvGrpSpPr>
        <p:grpSpPr>
          <a:xfrm>
            <a:off x="8464342" y="2735239"/>
            <a:ext cx="236514" cy="236514"/>
            <a:chOff x="10397072" y="2500811"/>
            <a:chExt cx="274320" cy="274320"/>
          </a:xfrm>
        </p:grpSpPr>
        <p:sp>
          <p:nvSpPr>
            <p:cNvPr id="80" name="Oval 79">
              <a:extLst>
                <a:ext uri="{FF2B5EF4-FFF2-40B4-BE49-F238E27FC236}">
                  <a16:creationId xmlns:a16="http://schemas.microsoft.com/office/drawing/2014/main" id="{4D657C2F-95AD-C347-A348-EDB602D688A9}"/>
                </a:ext>
              </a:extLst>
            </p:cNvPr>
            <p:cNvSpPr/>
            <p:nvPr/>
          </p:nvSpPr>
          <p:spPr>
            <a:xfrm>
              <a:off x="10397072" y="2500811"/>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Oval 80">
              <a:extLst>
                <a:ext uri="{FF2B5EF4-FFF2-40B4-BE49-F238E27FC236}">
                  <a16:creationId xmlns:a16="http://schemas.microsoft.com/office/drawing/2014/main" id="{FF9849C7-8896-9B4A-A9FE-D038EE593732}"/>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9" name="Group 108">
            <a:extLst>
              <a:ext uri="{FF2B5EF4-FFF2-40B4-BE49-F238E27FC236}">
                <a16:creationId xmlns:a16="http://schemas.microsoft.com/office/drawing/2014/main" id="{A7150F00-04B5-F04D-B3D7-8771B7BB8492}"/>
              </a:ext>
            </a:extLst>
          </p:cNvPr>
          <p:cNvGrpSpPr/>
          <p:nvPr/>
        </p:nvGrpSpPr>
        <p:grpSpPr>
          <a:xfrm>
            <a:off x="8737875" y="4093595"/>
            <a:ext cx="490139" cy="327016"/>
            <a:chOff x="6246901" y="3673208"/>
            <a:chExt cx="670240" cy="447178"/>
          </a:xfrm>
        </p:grpSpPr>
        <p:sp>
          <p:nvSpPr>
            <p:cNvPr id="53" name="Oval 52">
              <a:extLst>
                <a:ext uri="{FF2B5EF4-FFF2-40B4-BE49-F238E27FC236}">
                  <a16:creationId xmlns:a16="http://schemas.microsoft.com/office/drawing/2014/main" id="{6BA4E212-1F95-7F4D-81A0-18C3A6F826FF}"/>
                </a:ext>
              </a:extLst>
            </p:cNvPr>
            <p:cNvSpPr/>
            <p:nvPr/>
          </p:nvSpPr>
          <p:spPr>
            <a:xfrm>
              <a:off x="6473829" y="4001156"/>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a:extLst>
                <a:ext uri="{FF2B5EF4-FFF2-40B4-BE49-F238E27FC236}">
                  <a16:creationId xmlns:a16="http://schemas.microsoft.com/office/drawing/2014/main" id="{AF843C7B-E4A6-A84D-8BBC-1E74AB9625D6}"/>
                </a:ext>
              </a:extLst>
            </p:cNvPr>
            <p:cNvSpPr/>
            <p:nvPr/>
          </p:nvSpPr>
          <p:spPr>
            <a:xfrm>
              <a:off x="6797911" y="3892717"/>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B4F1C00F-0156-9940-A832-D45854B06381}"/>
                </a:ext>
              </a:extLst>
            </p:cNvPr>
            <p:cNvSpPr/>
            <p:nvPr/>
          </p:nvSpPr>
          <p:spPr>
            <a:xfrm>
              <a:off x="6701237" y="395870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Oval 55">
              <a:extLst>
                <a:ext uri="{FF2B5EF4-FFF2-40B4-BE49-F238E27FC236}">
                  <a16:creationId xmlns:a16="http://schemas.microsoft.com/office/drawing/2014/main" id="{EA5B2B67-9072-0748-B9AC-48FD0BBEEEFB}"/>
                </a:ext>
              </a:extLst>
            </p:cNvPr>
            <p:cNvSpPr/>
            <p:nvPr/>
          </p:nvSpPr>
          <p:spPr>
            <a:xfrm>
              <a:off x="6588194" y="399297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665791C0-F27D-914A-AF6B-BE9A33122FF0}"/>
                </a:ext>
              </a:extLst>
            </p:cNvPr>
            <p:cNvSpPr/>
            <p:nvPr/>
          </p:nvSpPr>
          <p:spPr>
            <a:xfrm flipH="1">
              <a:off x="6246901" y="395870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5E94613C-3850-CB47-8A57-1FAE0FF1F712}"/>
                </a:ext>
              </a:extLst>
            </p:cNvPr>
            <p:cNvSpPr/>
            <p:nvPr/>
          </p:nvSpPr>
          <p:spPr>
            <a:xfrm flipH="1">
              <a:off x="6359944" y="399297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a:extLst>
                <a:ext uri="{FF2B5EF4-FFF2-40B4-BE49-F238E27FC236}">
                  <a16:creationId xmlns:a16="http://schemas.microsoft.com/office/drawing/2014/main" id="{F737CDDB-15C6-EB4D-A253-7C1F28AE33BB}"/>
                </a:ext>
              </a:extLst>
            </p:cNvPr>
            <p:cNvSpPr/>
            <p:nvPr/>
          </p:nvSpPr>
          <p:spPr>
            <a:xfrm>
              <a:off x="6645428" y="3859938"/>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23F5C039-BB8E-504F-9F22-B574032C9765}"/>
                </a:ext>
              </a:extLst>
            </p:cNvPr>
            <p:cNvSpPr/>
            <p:nvPr/>
          </p:nvSpPr>
          <p:spPr>
            <a:xfrm>
              <a:off x="6426133" y="389648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83CF9A27-61E4-824C-BD07-3BB040EEA8B8}"/>
                </a:ext>
              </a:extLst>
            </p:cNvPr>
            <p:cNvSpPr/>
            <p:nvPr/>
          </p:nvSpPr>
          <p:spPr>
            <a:xfrm>
              <a:off x="6536354" y="3889525"/>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Oval 61">
              <a:extLst>
                <a:ext uri="{FF2B5EF4-FFF2-40B4-BE49-F238E27FC236}">
                  <a16:creationId xmlns:a16="http://schemas.microsoft.com/office/drawing/2014/main" id="{E8634037-1956-C84A-97A9-B5590118E8EB}"/>
                </a:ext>
              </a:extLst>
            </p:cNvPr>
            <p:cNvSpPr/>
            <p:nvPr/>
          </p:nvSpPr>
          <p:spPr>
            <a:xfrm>
              <a:off x="6312581" y="3862725"/>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a16="http://schemas.microsoft.com/office/drawing/2014/main" id="{DC26B3FF-5A81-8648-A8F3-829B4CA2C788}"/>
                </a:ext>
              </a:extLst>
            </p:cNvPr>
            <p:cNvSpPr/>
            <p:nvPr/>
          </p:nvSpPr>
          <p:spPr>
            <a:xfrm>
              <a:off x="6737359" y="3791319"/>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6BBE95BF-4D09-FA46-9EFD-F8756143A045}"/>
                </a:ext>
              </a:extLst>
            </p:cNvPr>
            <p:cNvSpPr/>
            <p:nvPr/>
          </p:nvSpPr>
          <p:spPr>
            <a:xfrm>
              <a:off x="6511223" y="3784129"/>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0A1E3372-62D0-9940-BFBB-E98451EE776D}"/>
                </a:ext>
              </a:extLst>
            </p:cNvPr>
            <p:cNvSpPr/>
            <p:nvPr/>
          </p:nvSpPr>
          <p:spPr>
            <a:xfrm>
              <a:off x="6620695" y="375301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CF083DFB-4B94-9A43-A74E-3E864C048ECD}"/>
                </a:ext>
              </a:extLst>
            </p:cNvPr>
            <p:cNvSpPr/>
            <p:nvPr/>
          </p:nvSpPr>
          <p:spPr>
            <a:xfrm>
              <a:off x="6538563" y="3673208"/>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C0E8418F-F276-E948-A2B7-B542116B573F}"/>
                </a:ext>
              </a:extLst>
            </p:cNvPr>
            <p:cNvSpPr/>
            <p:nvPr/>
          </p:nvSpPr>
          <p:spPr>
            <a:xfrm>
              <a:off x="6396747" y="3786237"/>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3" name="Group 82">
            <a:extLst>
              <a:ext uri="{FF2B5EF4-FFF2-40B4-BE49-F238E27FC236}">
                <a16:creationId xmlns:a16="http://schemas.microsoft.com/office/drawing/2014/main" id="{54E208E5-0075-C54B-B112-B82AAA70E9C9}"/>
              </a:ext>
            </a:extLst>
          </p:cNvPr>
          <p:cNvGrpSpPr/>
          <p:nvPr/>
        </p:nvGrpSpPr>
        <p:grpSpPr>
          <a:xfrm>
            <a:off x="5918607" y="3498596"/>
            <a:ext cx="354176" cy="351763"/>
            <a:chOff x="10257340" y="1680054"/>
            <a:chExt cx="394878" cy="392187"/>
          </a:xfrm>
        </p:grpSpPr>
        <p:sp>
          <p:nvSpPr>
            <p:cNvPr id="84" name="Rectangle 83">
              <a:extLst>
                <a:ext uri="{FF2B5EF4-FFF2-40B4-BE49-F238E27FC236}">
                  <a16:creationId xmlns:a16="http://schemas.microsoft.com/office/drawing/2014/main" id="{53AF8F83-FB1A-0C4D-B3DE-49BE77B63E2F}"/>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5" name="Picture 84" descr="Image result for azure functions logo png">
              <a:extLst>
                <a:ext uri="{FF2B5EF4-FFF2-40B4-BE49-F238E27FC236}">
                  <a16:creationId xmlns:a16="http://schemas.microsoft.com/office/drawing/2014/main" id="{E2E0DEEE-878B-3B4F-A1F2-36A728189496}"/>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Oval 100">
            <a:extLst>
              <a:ext uri="{FF2B5EF4-FFF2-40B4-BE49-F238E27FC236}">
                <a16:creationId xmlns:a16="http://schemas.microsoft.com/office/drawing/2014/main" id="{CE6CFD47-A83F-8840-9AE7-860024F5034B}"/>
              </a:ext>
            </a:extLst>
          </p:cNvPr>
          <p:cNvSpPr/>
          <p:nvPr/>
        </p:nvSpPr>
        <p:spPr bwMode="auto">
          <a:xfrm>
            <a:off x="574664" y="3419122"/>
            <a:ext cx="273696" cy="2736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_tradnl" sz="2400">
              <a:gradFill>
                <a:gsLst>
                  <a:gs pos="0">
                    <a:srgbClr val="FFFFFF"/>
                  </a:gs>
                  <a:gs pos="100000">
                    <a:srgbClr val="FFFFFF"/>
                  </a:gs>
                </a:gsLst>
                <a:lin ang="5400000" scaled="0"/>
              </a:gradFill>
              <a:ea typeface="Segoe UI" pitchFamily="34" charset="0"/>
              <a:cs typeface="Segoe UI" pitchFamily="34" charset="0"/>
            </a:endParaRPr>
          </a:p>
        </p:txBody>
      </p:sp>
      <p:pic>
        <p:nvPicPr>
          <p:cNvPr id="26" name="Graphic 6">
            <a:extLst>
              <a:ext uri="{FF2B5EF4-FFF2-40B4-BE49-F238E27FC236}">
                <a16:creationId xmlns:a16="http://schemas.microsoft.com/office/drawing/2014/main" id="{5E83C164-11BA-CA41-9394-49DB0AA5E362}"/>
              </a:ext>
            </a:extLst>
          </p:cNvPr>
          <p:cNvPicPr>
            <a:picLocks noChangeAspect="1"/>
          </p:cNvPicPr>
          <p:nvPr/>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29973" t="23458" r="27163" b="21071"/>
          <a:stretch/>
        </p:blipFill>
        <p:spPr>
          <a:xfrm>
            <a:off x="599570" y="3468791"/>
            <a:ext cx="205687" cy="205687"/>
          </a:xfrm>
          <a:prstGeom prst="ellipse">
            <a:avLst/>
          </a:prstGeom>
        </p:spPr>
      </p:pic>
      <p:cxnSp>
        <p:nvCxnSpPr>
          <p:cNvPr id="104" name="Straight Arrow Connector 103">
            <a:extLst>
              <a:ext uri="{FF2B5EF4-FFF2-40B4-BE49-F238E27FC236}">
                <a16:creationId xmlns:a16="http://schemas.microsoft.com/office/drawing/2014/main" id="{EAEB7B01-84C4-354F-8FAF-1B3F8E266C0C}"/>
              </a:ext>
            </a:extLst>
          </p:cNvPr>
          <p:cNvCxnSpPr>
            <a:cxnSpLocks/>
          </p:cNvCxnSpPr>
          <p:nvPr/>
        </p:nvCxnSpPr>
        <p:spPr>
          <a:xfrm>
            <a:off x="4649265" y="3982529"/>
            <a:ext cx="1197525" cy="0"/>
          </a:xfrm>
          <a:prstGeom prst="straightConnector1">
            <a:avLst/>
          </a:prstGeom>
          <a:ln w="19050">
            <a:solidFill>
              <a:srgbClr val="A8A9AD"/>
            </a:solidFill>
            <a:roun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FD405B9-0317-D147-B44E-77DFB07CCAE1}"/>
              </a:ext>
            </a:extLst>
          </p:cNvPr>
          <p:cNvGrpSpPr/>
          <p:nvPr/>
        </p:nvGrpSpPr>
        <p:grpSpPr>
          <a:xfrm>
            <a:off x="4900991" y="3909714"/>
            <a:ext cx="635136" cy="140198"/>
            <a:chOff x="6338452" y="3234748"/>
            <a:chExt cx="828495" cy="182880"/>
          </a:xfrm>
        </p:grpSpPr>
        <p:grpSp>
          <p:nvGrpSpPr>
            <p:cNvPr id="89" name="Group 88">
              <a:extLst>
                <a:ext uri="{FF2B5EF4-FFF2-40B4-BE49-F238E27FC236}">
                  <a16:creationId xmlns:a16="http://schemas.microsoft.com/office/drawing/2014/main" id="{4076DE24-014C-4644-813C-28BB6A225F22}"/>
                </a:ext>
              </a:extLst>
            </p:cNvPr>
            <p:cNvGrpSpPr/>
            <p:nvPr/>
          </p:nvGrpSpPr>
          <p:grpSpPr>
            <a:xfrm>
              <a:off x="6338452" y="3234748"/>
              <a:ext cx="182880" cy="182880"/>
              <a:chOff x="6614096" y="3386015"/>
              <a:chExt cx="182880" cy="182880"/>
            </a:xfrm>
          </p:grpSpPr>
          <p:sp>
            <p:nvSpPr>
              <p:cNvPr id="96" name="Oval 95">
                <a:extLst>
                  <a:ext uri="{FF2B5EF4-FFF2-40B4-BE49-F238E27FC236}">
                    <a16:creationId xmlns:a16="http://schemas.microsoft.com/office/drawing/2014/main" id="{9070F870-B6B1-454A-876F-75D866623607}"/>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FDCCA1DF-F663-AC4E-885B-FBC4C3ECAD31}"/>
                  </a:ext>
                </a:extLst>
              </p:cNvPr>
              <p:cNvSpPr/>
              <p:nvPr/>
            </p:nvSpPr>
            <p:spPr>
              <a:xfrm>
                <a:off x="6636956" y="3408875"/>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0" name="Group 89">
              <a:extLst>
                <a:ext uri="{FF2B5EF4-FFF2-40B4-BE49-F238E27FC236}">
                  <a16:creationId xmlns:a16="http://schemas.microsoft.com/office/drawing/2014/main" id="{E5E85D06-6596-CB4B-B0CD-0E00FBB977C6}"/>
                </a:ext>
              </a:extLst>
            </p:cNvPr>
            <p:cNvGrpSpPr/>
            <p:nvPr/>
          </p:nvGrpSpPr>
          <p:grpSpPr>
            <a:xfrm>
              <a:off x="6661259" y="3234748"/>
              <a:ext cx="182880" cy="182880"/>
              <a:chOff x="6614096" y="3386015"/>
              <a:chExt cx="182880" cy="182880"/>
            </a:xfrm>
          </p:grpSpPr>
          <p:sp>
            <p:nvSpPr>
              <p:cNvPr id="94" name="Oval 93">
                <a:extLst>
                  <a:ext uri="{FF2B5EF4-FFF2-40B4-BE49-F238E27FC236}">
                    <a16:creationId xmlns:a16="http://schemas.microsoft.com/office/drawing/2014/main" id="{C1149862-E5C9-F342-84C9-A43D849AEB4C}"/>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Oval 94">
                <a:extLst>
                  <a:ext uri="{FF2B5EF4-FFF2-40B4-BE49-F238E27FC236}">
                    <a16:creationId xmlns:a16="http://schemas.microsoft.com/office/drawing/2014/main" id="{5156B891-A4E9-3E43-BCC7-C33D27466178}"/>
                  </a:ext>
                </a:extLst>
              </p:cNvPr>
              <p:cNvSpPr/>
              <p:nvPr/>
            </p:nvSpPr>
            <p:spPr>
              <a:xfrm>
                <a:off x="6636956" y="3408873"/>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 name="Group 90">
              <a:extLst>
                <a:ext uri="{FF2B5EF4-FFF2-40B4-BE49-F238E27FC236}">
                  <a16:creationId xmlns:a16="http://schemas.microsoft.com/office/drawing/2014/main" id="{1CC9AEBA-CBE2-E04E-89A9-8ABEAE801BE4}"/>
                </a:ext>
              </a:extLst>
            </p:cNvPr>
            <p:cNvGrpSpPr/>
            <p:nvPr/>
          </p:nvGrpSpPr>
          <p:grpSpPr>
            <a:xfrm>
              <a:off x="6984067" y="3234748"/>
              <a:ext cx="182880" cy="182880"/>
              <a:chOff x="6614096" y="3386015"/>
              <a:chExt cx="182880" cy="182880"/>
            </a:xfrm>
          </p:grpSpPr>
          <p:sp>
            <p:nvSpPr>
              <p:cNvPr id="92" name="Oval 91">
                <a:extLst>
                  <a:ext uri="{FF2B5EF4-FFF2-40B4-BE49-F238E27FC236}">
                    <a16:creationId xmlns:a16="http://schemas.microsoft.com/office/drawing/2014/main" id="{D9E6C819-A8EF-3343-B575-0A16E11F0A90}"/>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a16="http://schemas.microsoft.com/office/drawing/2014/main" id="{AD6EB7D9-E7A1-D344-AA9C-AE79FCB79DCC}"/>
                  </a:ext>
                </a:extLst>
              </p:cNvPr>
              <p:cNvSpPr/>
              <p:nvPr/>
            </p:nvSpPr>
            <p:spPr>
              <a:xfrm>
                <a:off x="6636956" y="3408875"/>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113" name="Picture 112" descr="A picture containing building&#10;&#10;Description generated with very high confidence">
            <a:extLst>
              <a:ext uri="{FF2B5EF4-FFF2-40B4-BE49-F238E27FC236}">
                <a16:creationId xmlns:a16="http://schemas.microsoft.com/office/drawing/2014/main" id="{0624F317-912F-1D4D-8795-6F2776D08EA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flipH="1">
            <a:off x="10155655" y="-5"/>
            <a:ext cx="2292567" cy="6994529"/>
          </a:xfrm>
          <a:prstGeom prst="rect">
            <a:avLst/>
          </a:prstGeom>
        </p:spPr>
      </p:pic>
      <p:grpSp>
        <p:nvGrpSpPr>
          <p:cNvPr id="118" name="Group 117">
            <a:extLst>
              <a:ext uri="{FF2B5EF4-FFF2-40B4-BE49-F238E27FC236}">
                <a16:creationId xmlns:a16="http://schemas.microsoft.com/office/drawing/2014/main" id="{4A86A981-236A-4041-8BA7-2623DBDC04D1}"/>
              </a:ext>
            </a:extLst>
          </p:cNvPr>
          <p:cNvGrpSpPr/>
          <p:nvPr/>
        </p:nvGrpSpPr>
        <p:grpSpPr>
          <a:xfrm>
            <a:off x="10373185" y="512425"/>
            <a:ext cx="1787250" cy="307777"/>
            <a:chOff x="255683" y="512425"/>
            <a:chExt cx="1787250" cy="307777"/>
          </a:xfrm>
        </p:grpSpPr>
        <p:sp>
          <p:nvSpPr>
            <p:cNvPr id="119" name="TextBox 118">
              <a:extLst>
                <a:ext uri="{FF2B5EF4-FFF2-40B4-BE49-F238E27FC236}">
                  <a16:creationId xmlns:a16="http://schemas.microsoft.com/office/drawing/2014/main" id="{53EFA2D2-E7E0-F944-BBBA-A07E53BB944B}"/>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Retail</a:t>
              </a:r>
            </a:p>
          </p:txBody>
        </p:sp>
        <p:cxnSp>
          <p:nvCxnSpPr>
            <p:cNvPr id="120" name="Straight Connector 119">
              <a:extLst>
                <a:ext uri="{FF2B5EF4-FFF2-40B4-BE49-F238E27FC236}">
                  <a16:creationId xmlns:a16="http://schemas.microsoft.com/office/drawing/2014/main" id="{1E8B524F-91B4-D04B-8709-39293F5BC7DB}"/>
                </a:ext>
              </a:extLst>
            </p:cNvPr>
            <p:cNvCxnSpPr>
              <a:cxnSpLocks/>
            </p:cNvCxnSpPr>
            <p:nvPr/>
          </p:nvCxnSpPr>
          <p:spPr>
            <a:xfrm>
              <a:off x="255683"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47907540-F5EF-C340-81BA-79435A09EE1D}"/>
                </a:ext>
              </a:extLst>
            </p:cNvPr>
            <p:cNvCxnSpPr>
              <a:cxnSpLocks/>
            </p:cNvCxnSpPr>
            <p:nvPr/>
          </p:nvCxnSpPr>
          <p:spPr>
            <a:xfrm>
              <a:off x="1453554"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3" name="Text Placeholder 11">
            <a:extLst>
              <a:ext uri="{FF2B5EF4-FFF2-40B4-BE49-F238E27FC236}">
                <a16:creationId xmlns:a16="http://schemas.microsoft.com/office/drawing/2014/main" id="{8D828937-0FEE-6245-BC0A-5379486AEA68}"/>
              </a:ext>
            </a:extLst>
          </p:cNvPr>
          <p:cNvSpPr>
            <a:spLocks noGrp="1"/>
          </p:cNvSpPr>
          <p:nvPr>
            <p:ph type="body" sz="quarter" idx="11"/>
          </p:nvPr>
        </p:nvSpPr>
        <p:spPr>
          <a:xfrm>
            <a:off x="434974" y="1637303"/>
            <a:ext cx="5906173" cy="574172"/>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Online orders are picked up from a queue, processed and the resulting data is stored in a database</a:t>
            </a:r>
          </a:p>
        </p:txBody>
      </p:sp>
      <p:sp>
        <p:nvSpPr>
          <p:cNvPr id="124" name="Text Placeholder 11">
            <a:extLst>
              <a:ext uri="{FF2B5EF4-FFF2-40B4-BE49-F238E27FC236}">
                <a16:creationId xmlns:a16="http://schemas.microsoft.com/office/drawing/2014/main" id="{F6F210E4-93D4-E545-A88C-D8C696456B75}"/>
              </a:ext>
            </a:extLst>
          </p:cNvPr>
          <p:cNvSpPr txBox="1">
            <a:spLocks/>
          </p:cNvSpPr>
          <p:nvPr/>
        </p:nvSpPr>
        <p:spPr>
          <a:xfrm>
            <a:off x="434974" y="1251014"/>
            <a:ext cx="3380587" cy="409019"/>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Retail</a:t>
            </a:r>
          </a:p>
        </p:txBody>
      </p:sp>
    </p:spTree>
    <p:extLst>
      <p:ext uri="{BB962C8B-B14F-4D97-AF65-F5344CB8AC3E}">
        <p14:creationId xmlns:p14="http://schemas.microsoft.com/office/powerpoint/2010/main" val="31048451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4.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5.xml><?xml version="1.0" encoding="utf-8"?>
<a:theme xmlns:a="http://schemas.openxmlformats.org/drawingml/2006/main" name="1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6.xml><?xml version="1.0" encoding="utf-8"?>
<a:theme xmlns:a="http://schemas.openxmlformats.org/drawingml/2006/main" name="3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7.xml><?xml version="1.0" encoding="utf-8"?>
<a:theme xmlns:a="http://schemas.openxmlformats.org/drawingml/2006/main" name="1_Azure 2017">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ppt/theme/theme9.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940073B4D94A748843FA845ED858FC3" ma:contentTypeVersion="4" ma:contentTypeDescription="Create a new document." ma:contentTypeScope="" ma:versionID="5341fe487ad7480f515487d83070837b">
  <xsd:schema xmlns:xsd="http://www.w3.org/2001/XMLSchema" xmlns:xs="http://www.w3.org/2001/XMLSchema" xmlns:p="http://schemas.microsoft.com/office/2006/metadata/properties" xmlns:ns2="25aa5d98-09ef-4f11-ae85-0f5e095d46de" targetNamespace="http://schemas.microsoft.com/office/2006/metadata/properties" ma:root="true" ma:fieldsID="35169e91d43d045efe3dc9931e737f5b" ns2:_="">
    <xsd:import namespace="25aa5d98-09ef-4f11-ae85-0f5e095d46d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aa5d98-09ef-4f11-ae85-0f5e095d46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B3AAD43-3800-48D7-BE20-85BB79CD3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aa5d98-09ef-4f11-ae85-0f5e095d46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F07A399-D5E6-42C1-A0F7-12401AA67224}">
  <ds:schemaRefs>
    <ds:schemaRef ds:uri="http://schemas.microsoft.com/sharepoint/v3/contenttype/forms"/>
  </ds:schemaRefs>
</ds:datastoreItem>
</file>

<file path=customXml/itemProps3.xml><?xml version="1.0" encoding="utf-8"?>
<ds:datastoreItem xmlns:ds="http://schemas.openxmlformats.org/officeDocument/2006/customXml" ds:itemID="{1A2F3233-E30A-410B-94C6-6E021999130D}">
  <ds:schemaRefs>
    <ds:schemaRef ds:uri="http://purl.org/dc/elements/1.1/"/>
    <ds:schemaRef ds:uri="http://schemas.microsoft.com/office/infopath/2007/PartnerControls"/>
    <ds:schemaRef ds:uri="http://schemas.microsoft.com/office/2006/metadata/properties"/>
    <ds:schemaRef ds:uri="http://purl.org/dc/terms/"/>
    <ds:schemaRef ds:uri="http://schemas.microsoft.com/office/2006/documentManagement/types"/>
    <ds:schemaRef ds:uri="4d80db6b-c807-4fd5-9bba-10bceec5ff0a"/>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121</TotalTime>
  <Words>2902</Words>
  <Application>Microsoft Macintosh PowerPoint</Application>
  <PresentationFormat>Custom</PresentationFormat>
  <Paragraphs>426</Paragraphs>
  <Slides>29</Slides>
  <Notes>26</Notes>
  <HiddenSlides>5</HiddenSlides>
  <MMClips>0</MMClips>
  <ScaleCrop>false</ScaleCrop>
  <HeadingPairs>
    <vt:vector size="8" baseType="variant">
      <vt:variant>
        <vt:lpstr>Fonts Used</vt:lpstr>
      </vt:variant>
      <vt:variant>
        <vt:i4>13</vt:i4>
      </vt:variant>
      <vt:variant>
        <vt:lpstr>Theme</vt:lpstr>
      </vt:variant>
      <vt:variant>
        <vt:i4>9</vt:i4>
      </vt:variant>
      <vt:variant>
        <vt:lpstr>Embedded OLE Servers</vt:lpstr>
      </vt:variant>
      <vt:variant>
        <vt:i4>1</vt:i4>
      </vt:variant>
      <vt:variant>
        <vt:lpstr>Slide Titles</vt:lpstr>
      </vt:variant>
      <vt:variant>
        <vt:i4>29</vt:i4>
      </vt:variant>
    </vt:vector>
  </HeadingPairs>
  <TitlesOfParts>
    <vt:vector size="52" baseType="lpstr">
      <vt:lpstr>Arial</vt:lpstr>
      <vt:lpstr>Calibri</vt:lpstr>
      <vt:lpstr>Calibri Light</vt:lpstr>
      <vt:lpstr>Consolas</vt:lpstr>
      <vt:lpstr>Segoe Pro</vt:lpstr>
      <vt:lpstr>Segoe UI</vt:lpstr>
      <vt:lpstr>Segoe UI Black</vt:lpstr>
      <vt:lpstr>Segoe UI Light</vt:lpstr>
      <vt:lpstr>Segoe UI Semibold</vt:lpstr>
      <vt:lpstr>Segoe UI Semilight</vt:lpstr>
      <vt:lpstr>Selawik Semibold</vt:lpstr>
      <vt:lpstr>Times New Roman</vt:lpstr>
      <vt:lpstr>Wingdings</vt:lpstr>
      <vt:lpstr>Azure PPT Template - 2018</vt:lpstr>
      <vt:lpstr>C+E Deck</vt:lpstr>
      <vt:lpstr>2_WHITE TEMPLATE</vt:lpstr>
      <vt:lpstr>EBC_2017</vt:lpstr>
      <vt:lpstr>1_EBC_2017</vt:lpstr>
      <vt:lpstr>3_WHITE TEMPLATE</vt:lpstr>
      <vt:lpstr>1_Azure 2017</vt:lpstr>
      <vt:lpstr>5-50183_Microsoft_Inspire_Template</vt:lpstr>
      <vt:lpstr>1_5-50203_Microsoft_Ignite_Template</vt:lpstr>
      <vt:lpstr>think-cell Slide</vt:lpstr>
      <vt:lpstr>PowerPoint Presentation</vt:lpstr>
      <vt:lpstr>PowerPoint Presentation</vt:lpstr>
      <vt:lpstr>PowerPoint Presentation</vt:lpstr>
      <vt:lpstr>Why serverless?</vt:lpstr>
      <vt:lpstr>What are the benefits?</vt:lpstr>
      <vt:lpstr>Sample scenarios for Functions</vt:lpstr>
      <vt:lpstr>Azure best cloud for serverless</vt:lpstr>
      <vt:lpstr>Azure serverless application platform</vt:lpstr>
      <vt:lpstr>Web application backends</vt:lpstr>
      <vt:lpstr>Mobile application backends</vt:lpstr>
      <vt:lpstr>IoT-connected backends</vt:lpstr>
      <vt:lpstr>Conversational bot processing</vt:lpstr>
      <vt:lpstr>Real-time file processing </vt:lpstr>
      <vt:lpstr>Real-time stream processing </vt:lpstr>
      <vt:lpstr>Automation of scheduled tasks  </vt:lpstr>
      <vt:lpstr>PowerPoint Presentation</vt:lpstr>
      <vt:lpstr>Azure Functions An event-based, serverless compute experience that accelerates app development</vt:lpstr>
      <vt:lpstr>PowerPoint Presentation</vt:lpstr>
      <vt:lpstr>PowerPoint Presentation</vt:lpstr>
      <vt:lpstr>Functions everywhere</vt:lpstr>
      <vt:lpstr>Language op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Driven Apps Technical Customer Deck</dc:title>
  <dc:subject/>
  <dc:creator>Douglas Montague</dc:creator>
  <cp:keywords/>
  <dc:description/>
  <cp:lastModifiedBy>Mannie Tagarira</cp:lastModifiedBy>
  <cp:revision>23</cp:revision>
  <cp:lastPrinted>1601-01-01T00:00:00Z</cp:lastPrinted>
  <dcterms:created xsi:type="dcterms:W3CDTF">1601-01-01T00:00:00Z</dcterms:created>
  <dcterms:modified xsi:type="dcterms:W3CDTF">2019-03-20T16:46:5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40073B4D94A748843FA845ED858FC3</vt:lpwstr>
  </property>
  <property fmtid="{D5CDD505-2E9C-101B-9397-08002B2CF9AE}" pid="3" name="DocVizMetadataToken">
    <vt:lpwstr>600x450x1</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0x0101000E4CB7077FEE4FF7AE86D4A500EEC780030016C849C62B10EB41ACA8C7EEDEF40BB20099ECF64382448D48A56095091C66B1A9|-661092312</vt:lpwstr>
  </property>
  <property fmtid="{D5CDD505-2E9C-101B-9397-08002B2CF9AE}" pid="8" name="Region">
    <vt:lpwstr/>
  </property>
  <property fmtid="{D5CDD505-2E9C-101B-9397-08002B2CF9AE}" pid="9" name="Confidentiality">
    <vt:lpwstr>14;#customer ready|8986c41d-21c5-4f8f-8a12-ea4625b46858</vt:lpwstr>
  </property>
  <property fmtid="{D5CDD505-2E9C-101B-9397-08002B2CF9AE}" pid="10" name="ItemType">
    <vt:lpwstr>435;#technical presentations|83a894cf-702b-47fc-aba5-41bd10dc1e75</vt:lpwstr>
  </property>
  <property fmtid="{D5CDD505-2E9C-101B-9397-08002B2CF9AE}" pid="11" name="Industries">
    <vt:lpwstr/>
  </property>
  <property fmtid="{D5CDD505-2E9C-101B-9397-08002B2CF9AE}" pid="12" name="MSProducts">
    <vt:lpwstr/>
  </property>
  <property fmtid="{D5CDD505-2E9C-101B-9397-08002B2CF9AE}" pid="13" name="SMSGDomain">
    <vt:lpwstr>21;#Intelligent Cloud|adc2fe87-c79a-4ded-a449-3f86b954069d;#2553;#ICB PST Domain|f7f86ece-0ca0-48d7-99cb-d6c97e732478</vt:lpwstr>
  </property>
  <property fmtid="{D5CDD505-2E9C-101B-9397-08002B2CF9AE}" pid="14" name="Competitors">
    <vt:lpwstr/>
  </property>
  <property fmtid="{D5CDD505-2E9C-101B-9397-08002B2CF9AE}" pid="15" name="ExperienceContentType">
    <vt:lpwstr/>
  </property>
  <property fmtid="{D5CDD505-2E9C-101B-9397-08002B2CF9AE}" pid="16" name="BusinessArchitecture">
    <vt:lpwstr>2546;#Applications and Infrastructure|f69679d5-ce87-4413-9040-82ea79c5c527</vt:lpwstr>
  </property>
  <property fmtid="{D5CDD505-2E9C-101B-9397-08002B2CF9AE}" pid="17" name="Products">
    <vt:lpwstr/>
  </property>
  <property fmtid="{D5CDD505-2E9C-101B-9397-08002B2CF9AE}" pid="18" name="l6f004f21209409da86a713c0f24627d">
    <vt:lpwstr/>
  </property>
  <property fmtid="{D5CDD505-2E9C-101B-9397-08002B2CF9AE}" pid="19" name="MSProductsTaxHTField0">
    <vt:lpwstr/>
  </property>
  <property fmtid="{D5CDD505-2E9C-101B-9397-08002B2CF9AE}" pid="20" name="_docset_NoMedatataSyncRequired">
    <vt:lpwstr>False</vt:lpwstr>
  </property>
  <property fmtid="{D5CDD505-2E9C-101B-9397-08002B2CF9AE}" pid="21" name="e8080b0481964c759b2c36ae49591b31">
    <vt:lpwstr/>
  </property>
  <property fmtid="{D5CDD505-2E9C-101B-9397-08002B2CF9AE}" pid="22" name="Languages">
    <vt:lpwstr/>
  </property>
  <property fmtid="{D5CDD505-2E9C-101B-9397-08002B2CF9AE}" pid="23" name="TechnicalLevel">
    <vt:lpwstr>1449;#300|6a5f978f-2506-442d-86c2-7f294468d8c9</vt:lpwstr>
  </property>
  <property fmtid="{D5CDD505-2E9C-101B-9397-08002B2CF9AE}" pid="24" name="Audiences">
    <vt:lpwstr/>
  </property>
  <property fmtid="{D5CDD505-2E9C-101B-9397-08002B2CF9AE}" pid="25" name="ldac8aee9d1f469e8cd8c3f8d6a615f2">
    <vt:lpwstr/>
  </property>
  <property fmtid="{D5CDD505-2E9C-101B-9397-08002B2CF9AE}" pid="26" name="EmployeeRole">
    <vt:lpwstr/>
  </property>
  <property fmtid="{D5CDD505-2E9C-101B-9397-08002B2CF9AE}" pid="27" name="NewsTopic">
    <vt:lpwstr/>
  </property>
  <property fmtid="{D5CDD505-2E9C-101B-9397-08002B2CF9AE}" pid="28" name="Roles">
    <vt:lpwstr>354;#Technology Solutions Professional|18ae106e-2924-4f2d-83ba-9b3af46c5a31</vt:lpwstr>
  </property>
  <property fmtid="{D5CDD505-2E9C-101B-9397-08002B2CF9AE}" pid="29"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0" name="NewsSource">
    <vt:lpwstr/>
  </property>
  <property fmtid="{D5CDD505-2E9C-101B-9397-08002B2CF9AE}" pid="31" name="SMSGTags">
    <vt:lpwstr/>
  </property>
  <property fmtid="{D5CDD505-2E9C-101B-9397-08002B2CF9AE}" pid="32" name="_dlc_DocIdItemGuid">
    <vt:lpwstr>2c5b8f37-eef1-460e-a8f9-5d12bf52d35c</vt:lpwstr>
  </property>
  <property fmtid="{D5CDD505-2E9C-101B-9397-08002B2CF9AE}" pid="33" name="MSPhysicalGeography">
    <vt:lpwstr/>
  </property>
  <property fmtid="{D5CDD505-2E9C-101B-9397-08002B2CF9AE}" pid="34" name="EnterpriseDomainTags">
    <vt:lpwstr/>
  </property>
  <property fmtid="{D5CDD505-2E9C-101B-9397-08002B2CF9AE}" pid="35" name="j3562c58ee414e028925bc902cfc01a1">
    <vt:lpwstr/>
  </property>
  <property fmtid="{D5CDD505-2E9C-101B-9397-08002B2CF9AE}" pid="36" name="Segments">
    <vt:lpwstr/>
  </property>
  <property fmtid="{D5CDD505-2E9C-101B-9397-08002B2CF9AE}" pid="37" name="Partners">
    <vt:lpwstr/>
  </property>
  <property fmtid="{D5CDD505-2E9C-101B-9397-08002B2CF9AE}" pid="38" name="ActivitiesAndPrograms">
    <vt:lpwstr/>
  </property>
  <property fmtid="{D5CDD505-2E9C-101B-9397-08002B2CF9AE}" pid="39" name="la4444b61d19467597d63190b69ac227">
    <vt:lpwstr/>
  </property>
  <property fmtid="{D5CDD505-2E9C-101B-9397-08002B2CF9AE}" pid="40" name="Groups">
    <vt:lpwstr>42;#Intelligent Cloud Marketing Group|4f75e184-e5aa-4234-a07f-b032d60df254</vt:lpwstr>
  </property>
  <property fmtid="{D5CDD505-2E9C-101B-9397-08002B2CF9AE}" pid="41" name="Topics">
    <vt:lpwstr>2554;#Fiscal Year 2019|37cfb2d9-82d6-4aee-ad7b-3dc8286123ca</vt:lpwstr>
  </property>
  <property fmtid="{D5CDD505-2E9C-101B-9397-08002B2CF9AE}" pid="42" name="MSIP_Label_87867195-f2b8-4ac2-b0b6-6bb73cb33afc_Enabled">
    <vt:lpwstr>True</vt:lpwstr>
  </property>
  <property fmtid="{D5CDD505-2E9C-101B-9397-08002B2CF9AE}" pid="43" name="MSIP_Label_87867195-f2b8-4ac2-b0b6-6bb73cb33afc_SiteId">
    <vt:lpwstr>72f988bf-86f1-41af-91ab-2d7cd011db47</vt:lpwstr>
  </property>
  <property fmtid="{D5CDD505-2E9C-101B-9397-08002B2CF9AE}" pid="44" name="MSIP_Label_87867195-f2b8-4ac2-b0b6-6bb73cb33afc_Owner">
    <vt:lpwstr>sirajm@microsoft.com</vt:lpwstr>
  </property>
  <property fmtid="{D5CDD505-2E9C-101B-9397-08002B2CF9AE}" pid="45" name="MSIP_Label_87867195-f2b8-4ac2-b0b6-6bb73cb33afc_SetDate">
    <vt:lpwstr>2018-10-09T00:53:53.2309094Z</vt:lpwstr>
  </property>
  <property fmtid="{D5CDD505-2E9C-101B-9397-08002B2CF9AE}" pid="46" name="MSIP_Label_87867195-f2b8-4ac2-b0b6-6bb73cb33afc_Name">
    <vt:lpwstr>Public</vt:lpwstr>
  </property>
  <property fmtid="{D5CDD505-2E9C-101B-9397-08002B2CF9AE}" pid="47" name="MSIP_Label_87867195-f2b8-4ac2-b0b6-6bb73cb33afc_Application">
    <vt:lpwstr>Microsoft Azure Information Protection</vt:lpwstr>
  </property>
  <property fmtid="{D5CDD505-2E9C-101B-9397-08002B2CF9AE}" pid="48" name="MSIP_Label_87867195-f2b8-4ac2-b0b6-6bb73cb33afc_Extended_MSFT_Method">
    <vt:lpwstr>Manual</vt:lpwstr>
  </property>
  <property fmtid="{D5CDD505-2E9C-101B-9397-08002B2CF9AE}" pid="49" name="Sensitivity">
    <vt:lpwstr>Public</vt:lpwstr>
  </property>
</Properties>
</file>